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omments/modernComment_19B_848837AC.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1B0_61AEB8FE.xml" ContentType="application/vnd.ms-powerpoint.comment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Ex1.xml" ContentType="application/vnd.ms-office.chartex+xml"/>
  <Override PartName="/ppt/charts/style3.xml" ContentType="application/vnd.ms-office.chartstyle+xml"/>
  <Override PartName="/ppt/charts/colors3.xml" ContentType="application/vnd.ms-office.chartcolorstyle+xml"/>
  <Override PartName="/ppt/comments/modernComment_1AB_FE6E8340.xml" ContentType="application/vnd.ms-powerpoint.comments+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omments/modernComment_1AD_1A3A4A7.xml" ContentType="application/vnd.ms-powerpoint.comments+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xml" ContentType="application/vnd.openxmlformats-officedocument.presentationml.notesSlide+xml"/>
  <Override PartName="/ppt/comments/modernComment_1AE_6F744570.xml" ContentType="application/vnd.ms-powerpoint.comments+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omments/modernComment_1B2_36C863C3.xml" ContentType="application/vnd.ms-powerpoint.comments+xml"/>
  <Override PartName="/ppt/charts/chart7.xml" ContentType="application/vnd.openxmlformats-officedocument.drawingml.chart+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omments/modernComment_1B1_6D9D658B.xml" ContentType="application/vnd.ms-powerpoint.comment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omments/modernComment_115_9BC3CC5B.xml" ContentType="application/vnd.ms-powerpoint.comment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5.xml" ContentType="application/vnd.openxmlformats-officedocument.presentationml.notesSlide+xml"/>
  <Override PartName="/ppt/comments/modernComment_116_D51F26B7.xml" ContentType="application/vnd.ms-powerpoint.comment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6.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2.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11E_42B1A721.xml" ContentType="application/vnd.ms-powerpoint.comment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Ex2.xml" ContentType="application/vnd.ms-office.chartex+xml"/>
  <Override PartName="/ppt/charts/style16.xml" ContentType="application/vnd.ms-office.chartstyle+xml"/>
  <Override PartName="/ppt/charts/colors16.xml" ContentType="application/vnd.ms-office.chartcolorstyle+xml"/>
  <Override PartName="/ppt/comments/modernComment_1A9_A322723D.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 id="2147483694" r:id="rId5"/>
    <p:sldMasterId id="2147483701" r:id="rId6"/>
    <p:sldMasterId id="2147483698" r:id="rId7"/>
    <p:sldMasterId id="2147483700" r:id="rId8"/>
  </p:sldMasterIdLst>
  <p:notesMasterIdLst>
    <p:notesMasterId r:id="rId39"/>
  </p:notesMasterIdLst>
  <p:handoutMasterIdLst>
    <p:handoutMasterId r:id="rId40"/>
  </p:handoutMasterIdLst>
  <p:sldIdLst>
    <p:sldId id="257" r:id="rId9"/>
    <p:sldId id="411" r:id="rId10"/>
    <p:sldId id="270" r:id="rId11"/>
    <p:sldId id="262" r:id="rId12"/>
    <p:sldId id="432" r:id="rId13"/>
    <p:sldId id="427" r:id="rId14"/>
    <p:sldId id="263" r:id="rId15"/>
    <p:sldId id="429" r:id="rId16"/>
    <p:sldId id="430" r:id="rId17"/>
    <p:sldId id="434" r:id="rId18"/>
    <p:sldId id="269" r:id="rId19"/>
    <p:sldId id="272" r:id="rId20"/>
    <p:sldId id="433" r:id="rId21"/>
    <p:sldId id="264" r:id="rId22"/>
    <p:sldId id="277" r:id="rId23"/>
    <p:sldId id="278" r:id="rId24"/>
    <p:sldId id="266" r:id="rId25"/>
    <p:sldId id="435" r:id="rId26"/>
    <p:sldId id="438" r:id="rId27"/>
    <p:sldId id="286" r:id="rId28"/>
    <p:sldId id="267" r:id="rId29"/>
    <p:sldId id="423" r:id="rId30"/>
    <p:sldId id="424" r:id="rId31"/>
    <p:sldId id="425" r:id="rId32"/>
    <p:sldId id="439" r:id="rId33"/>
    <p:sldId id="436" r:id="rId34"/>
    <p:sldId id="268" r:id="rId35"/>
    <p:sldId id="258" r:id="rId36"/>
    <p:sldId id="259" r:id="rId37"/>
    <p:sldId id="260" r:id="rId38"/>
  </p:sldIdLst>
  <p:sldSz cx="9144000" cy="6858000" type="screen4x3"/>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3BEF54-F0B7-0FFE-2FAD-168DFD18B6CE}" name="Arman Bazarjani" initials="AB" userId="S::abaza094@uottawa.ca::450e03ee-301b-4aeb-9e35-1d972aec6f7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vid MacNeill" initials="DM" lastIdx="5" clrIdx="0">
    <p:extLst>
      <p:ext uri="{19B8F6BF-5375-455C-9EA6-DF929625EA0E}">
        <p15:presenceInfo xmlns:p15="http://schemas.microsoft.com/office/powerpoint/2012/main" userId="David MacNeil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B37A"/>
    <a:srgbClr val="FF6363"/>
    <a:srgbClr val="857C4B"/>
    <a:srgbClr val="423E26"/>
    <a:srgbClr val="B7AF81"/>
    <a:srgbClr val="DDD9C3"/>
    <a:srgbClr val="DDDDDD"/>
    <a:srgbClr val="74B1E7"/>
    <a:srgbClr val="8F001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DE6FCE-89A3-4A75-8540-53475B34D2FF}" v="5638" dt="2024-12-02T20:12:44.685"/>
    <p1510:client id="{679028E3-2824-B303-7943-715553BB854D}" v="24" dt="2024-12-02T04:42:37.804"/>
    <p1510:client id="{7085E35E-4A2A-4F2F-BC27-E93A2ADB74F0}" v="51" dt="2024-12-01T21:35:08.794"/>
    <p1510:client id="{822035F6-0D12-423D-8A37-F3DC56A02409}" v="5563" dt="2024-12-02T01:09:08.503"/>
    <p1510:client id="{BADEDAD8-515E-3540-06E5-6848947844BE}" v="2" dt="2024-12-02T23:11:43.195"/>
    <p1510:client id="{E58BCB80-69B4-F30E-29B7-B25BD71F7072}" v="6" dt="2024-12-02T23:30:25.9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am Morden" userId="S::lmord071@uottawa.ca::93761272-e958-47bd-a047-5952229592b0" providerId="AD" clId="Web-{96886262-B4EB-8822-8AAE-9266A1DD5EE4}"/>
    <pc:docChg chg="modSld">
      <pc:chgData name="Liam Morden" userId="S::lmord071@uottawa.ca::93761272-e958-47bd-a047-5952229592b0" providerId="AD" clId="Web-{96886262-B4EB-8822-8AAE-9266A1DD5EE4}" dt="2024-10-23T22:16:07.421" v="21"/>
      <pc:docMkLst>
        <pc:docMk/>
      </pc:docMkLst>
      <pc:sldChg chg="addSp delSp modSp">
        <pc:chgData name="Liam Morden" userId="S::lmord071@uottawa.ca::93761272-e958-47bd-a047-5952229592b0" providerId="AD" clId="Web-{96886262-B4EB-8822-8AAE-9266A1DD5EE4}" dt="2024-10-23T22:16:07.421" v="21"/>
        <pc:sldMkLst>
          <pc:docMk/>
          <pc:sldMk cId="4176733920" sldId="257"/>
        </pc:sldMkLst>
        <pc:spChg chg="mod">
          <ac:chgData name="Liam Morden" userId="S::lmord071@uottawa.ca::93761272-e958-47bd-a047-5952229592b0" providerId="AD" clId="Web-{96886262-B4EB-8822-8AAE-9266A1DD5EE4}" dt="2024-10-23T22:14:50.124" v="9" actId="20577"/>
          <ac:spMkLst>
            <pc:docMk/>
            <pc:sldMk cId="4176733920" sldId="257"/>
            <ac:spMk id="2" creationId="{84769D28-0B1C-9CF8-FADD-EFF9A63C121C}"/>
          </ac:spMkLst>
        </pc:spChg>
      </pc:sldChg>
    </pc:docChg>
  </pc:docChgLst>
  <pc:docChgLst>
    <pc:chgData name="Liam Morden" userId="S::lmord071@uottawa.ca::93761272-e958-47bd-a047-5952229592b0" providerId="AD" clId="Web-{E9543267-91B8-E140-D772-2A323B975AD4}"/>
    <pc:docChg chg="modSld">
      <pc:chgData name="Liam Morden" userId="S::lmord071@uottawa.ca::93761272-e958-47bd-a047-5952229592b0" providerId="AD" clId="Web-{E9543267-91B8-E140-D772-2A323B975AD4}" dt="2024-11-06T16:36:08.729" v="0" actId="20577"/>
      <pc:docMkLst>
        <pc:docMk/>
      </pc:docMkLst>
      <pc:sldChg chg="modSp">
        <pc:chgData name="Liam Morden" userId="S::lmord071@uottawa.ca::93761272-e958-47bd-a047-5952229592b0" providerId="AD" clId="Web-{E9543267-91B8-E140-D772-2A323B975AD4}" dt="2024-11-06T16:36:08.729" v="0" actId="20577"/>
        <pc:sldMkLst>
          <pc:docMk/>
          <pc:sldMk cId="2137920764" sldId="273"/>
        </pc:sldMkLst>
        <pc:spChg chg="mod">
          <ac:chgData name="Liam Morden" userId="S::lmord071@uottawa.ca::93761272-e958-47bd-a047-5952229592b0" providerId="AD" clId="Web-{E9543267-91B8-E140-D772-2A323B975AD4}" dt="2024-11-06T16:36:08.729" v="0" actId="20577"/>
          <ac:spMkLst>
            <pc:docMk/>
            <pc:sldMk cId="2137920764" sldId="273"/>
            <ac:spMk id="12" creationId="{EF88B294-1C02-411D-9A2E-81C4A27B0B82}"/>
          </ac:spMkLst>
        </pc:spChg>
      </pc:sldChg>
    </pc:docChg>
  </pc:docChgLst>
  <pc:docChgLst>
    <pc:chgData name="Liam Morden" userId="93761272-e958-47bd-a047-5952229592b0" providerId="ADAL" clId="{1BDE6FCE-89A3-4A75-8540-53475B34D2FF}"/>
    <pc:docChg chg="undo redo custSel addSld delSld modSld sldOrd modMainMaster">
      <pc:chgData name="Liam Morden" userId="93761272-e958-47bd-a047-5952229592b0" providerId="ADAL" clId="{1BDE6FCE-89A3-4A75-8540-53475B34D2FF}" dt="2024-12-02T20:12:44.685" v="8675" actId="5793"/>
      <pc:docMkLst>
        <pc:docMk/>
      </pc:docMkLst>
      <pc:sldChg chg="addSp delSp modSp mod">
        <pc:chgData name="Liam Morden" userId="93761272-e958-47bd-a047-5952229592b0" providerId="ADAL" clId="{1BDE6FCE-89A3-4A75-8540-53475B34D2FF}" dt="2024-11-01T19:09:44.156" v="51" actId="313"/>
        <pc:sldMkLst>
          <pc:docMk/>
          <pc:sldMk cId="4176733920" sldId="257"/>
        </pc:sldMkLst>
        <pc:spChg chg="mod">
          <ac:chgData name="Liam Morden" userId="93761272-e958-47bd-a047-5952229592b0" providerId="ADAL" clId="{1BDE6FCE-89A3-4A75-8540-53475B34D2FF}" dt="2024-11-01T19:09:44.156" v="51" actId="313"/>
          <ac:spMkLst>
            <pc:docMk/>
            <pc:sldMk cId="4176733920" sldId="257"/>
            <ac:spMk id="2" creationId="{84769D28-0B1C-9CF8-FADD-EFF9A63C121C}"/>
          </ac:spMkLst>
        </pc:spChg>
        <pc:picChg chg="add mod">
          <ac:chgData name="Liam Morden" userId="93761272-e958-47bd-a047-5952229592b0" providerId="ADAL" clId="{1BDE6FCE-89A3-4A75-8540-53475B34D2FF}" dt="2024-11-01T18:47:15.805" v="50" actId="1076"/>
          <ac:picMkLst>
            <pc:docMk/>
            <pc:sldMk cId="4176733920" sldId="257"/>
            <ac:picMk id="1026" creationId="{CBCEF9EF-FB67-18C2-0A6C-7450A99818FB}"/>
          </ac:picMkLst>
        </pc:picChg>
      </pc:sldChg>
      <pc:sldChg chg="addSp delSp modSp mod">
        <pc:chgData name="Liam Morden" userId="93761272-e958-47bd-a047-5952229592b0" providerId="ADAL" clId="{1BDE6FCE-89A3-4A75-8540-53475B34D2FF}" dt="2024-12-02T20:12:00.195" v="8655" actId="478"/>
        <pc:sldMkLst>
          <pc:docMk/>
          <pc:sldMk cId="4028445805" sldId="258"/>
        </pc:sldMkLst>
        <pc:spChg chg="add del mod">
          <ac:chgData name="Liam Morden" userId="93761272-e958-47bd-a047-5952229592b0" providerId="ADAL" clId="{1BDE6FCE-89A3-4A75-8540-53475B34D2FF}" dt="2024-12-02T20:12:00.195" v="8655" actId="478"/>
          <ac:spMkLst>
            <pc:docMk/>
            <pc:sldMk cId="4028445805" sldId="258"/>
            <ac:spMk id="2" creationId="{3774C1D9-DE26-66DA-78E3-D43D7F847303}"/>
          </ac:spMkLst>
        </pc:spChg>
        <pc:graphicFrameChg chg="mod modGraphic">
          <ac:chgData name="Liam Morden" userId="93761272-e958-47bd-a047-5952229592b0" providerId="ADAL" clId="{1BDE6FCE-89A3-4A75-8540-53475B34D2FF}" dt="2024-11-30T18:55:35.893" v="2460" actId="14100"/>
          <ac:graphicFrameMkLst>
            <pc:docMk/>
            <pc:sldMk cId="4028445805" sldId="258"/>
            <ac:graphicFrameMk id="14" creationId="{76A4AAB4-9254-CC00-93B4-16E1C7879EAD}"/>
          </ac:graphicFrameMkLst>
        </pc:graphicFrameChg>
        <pc:graphicFrameChg chg="mod modGraphic">
          <ac:chgData name="Liam Morden" userId="93761272-e958-47bd-a047-5952229592b0" providerId="ADAL" clId="{1BDE6FCE-89A3-4A75-8540-53475B34D2FF}" dt="2024-12-02T16:58:00.347" v="8085" actId="20577"/>
          <ac:graphicFrameMkLst>
            <pc:docMk/>
            <pc:sldMk cId="4028445805" sldId="258"/>
            <ac:graphicFrameMk id="28" creationId="{12D60DE0-F191-BA4C-B982-0B01A910E199}"/>
          </ac:graphicFrameMkLst>
        </pc:graphicFrameChg>
        <pc:graphicFrameChg chg="mod modGraphic">
          <ac:chgData name="Liam Morden" userId="93761272-e958-47bd-a047-5952229592b0" providerId="ADAL" clId="{1BDE6FCE-89A3-4A75-8540-53475B34D2FF}" dt="2024-12-02T16:58:37.657" v="8108" actId="20577"/>
          <ac:graphicFrameMkLst>
            <pc:docMk/>
            <pc:sldMk cId="4028445805" sldId="258"/>
            <ac:graphicFrameMk id="29" creationId="{BE26A4F8-346C-386A-BB32-BC75C819D99B}"/>
          </ac:graphicFrameMkLst>
        </pc:graphicFrameChg>
        <pc:graphicFrameChg chg="mod modGraphic">
          <ac:chgData name="Liam Morden" userId="93761272-e958-47bd-a047-5952229592b0" providerId="ADAL" clId="{1BDE6FCE-89A3-4A75-8540-53475B34D2FF}" dt="2024-12-02T16:58:40.272" v="8109"/>
          <ac:graphicFrameMkLst>
            <pc:docMk/>
            <pc:sldMk cId="4028445805" sldId="258"/>
            <ac:graphicFrameMk id="30" creationId="{B193158D-0499-7DE8-C232-7084B7490925}"/>
          </ac:graphicFrameMkLst>
        </pc:graphicFrameChg>
      </pc:sldChg>
      <pc:sldChg chg="addSp delSp modSp del mod">
        <pc:chgData name="Liam Morden" userId="93761272-e958-47bd-a047-5952229592b0" providerId="ADAL" clId="{1BDE6FCE-89A3-4A75-8540-53475B34D2FF}" dt="2024-12-02T17:16:19.871" v="8284" actId="47"/>
        <pc:sldMkLst>
          <pc:docMk/>
          <pc:sldMk cId="4182664215" sldId="261"/>
        </pc:sldMkLst>
        <pc:spChg chg="add mod">
          <ac:chgData name="Liam Morden" userId="93761272-e958-47bd-a047-5952229592b0" providerId="ADAL" clId="{1BDE6FCE-89A3-4A75-8540-53475B34D2FF}" dt="2024-11-28T23:23:13.645" v="1224" actId="478"/>
          <ac:spMkLst>
            <pc:docMk/>
            <pc:sldMk cId="4182664215" sldId="261"/>
            <ac:spMk id="6" creationId="{FC1833D4-88BE-EA2C-B694-F88298D8A181}"/>
          </ac:spMkLst>
        </pc:spChg>
      </pc:sldChg>
      <pc:sldChg chg="addSp delSp modSp mod">
        <pc:chgData name="Liam Morden" userId="93761272-e958-47bd-a047-5952229592b0" providerId="ADAL" clId="{1BDE6FCE-89A3-4A75-8540-53475B34D2FF}" dt="2024-12-02T17:16:27.762" v="8286" actId="20577"/>
        <pc:sldMkLst>
          <pc:docMk/>
          <pc:sldMk cId="2853754934" sldId="262"/>
        </pc:sldMkLst>
        <pc:spChg chg="mod">
          <ac:chgData name="Liam Morden" userId="93761272-e958-47bd-a047-5952229592b0" providerId="ADAL" clId="{1BDE6FCE-89A3-4A75-8540-53475B34D2FF}" dt="2024-12-02T17:16:27.762" v="8286" actId="20577"/>
          <ac:spMkLst>
            <pc:docMk/>
            <pc:sldMk cId="2853754934" sldId="262"/>
            <ac:spMk id="2" creationId="{AED78D44-FEF3-50B8-7E42-BBCE41DD9115}"/>
          </ac:spMkLst>
        </pc:spChg>
        <pc:spChg chg="add mod">
          <ac:chgData name="Liam Morden" userId="93761272-e958-47bd-a047-5952229592b0" providerId="ADAL" clId="{1BDE6FCE-89A3-4A75-8540-53475B34D2FF}" dt="2024-11-28T23:23:15.681" v="1225" actId="478"/>
          <ac:spMkLst>
            <pc:docMk/>
            <pc:sldMk cId="2853754934" sldId="262"/>
            <ac:spMk id="6" creationId="{A8AE6F07-3B6C-5106-8009-7E9BCA5D388C}"/>
          </ac:spMkLst>
        </pc:spChg>
      </pc:sldChg>
      <pc:sldChg chg="addSp delSp modSp mod">
        <pc:chgData name="Liam Morden" userId="93761272-e958-47bd-a047-5952229592b0" providerId="ADAL" clId="{1BDE6FCE-89A3-4A75-8540-53475B34D2FF}" dt="2024-12-02T17:16:32.033" v="8288" actId="20577"/>
        <pc:sldMkLst>
          <pc:docMk/>
          <pc:sldMk cId="1578569842" sldId="263"/>
        </pc:sldMkLst>
        <pc:spChg chg="mod">
          <ac:chgData name="Liam Morden" userId="93761272-e958-47bd-a047-5952229592b0" providerId="ADAL" clId="{1BDE6FCE-89A3-4A75-8540-53475B34D2FF}" dt="2024-12-02T17:16:32.033" v="8288" actId="20577"/>
          <ac:spMkLst>
            <pc:docMk/>
            <pc:sldMk cId="1578569842" sldId="263"/>
            <ac:spMk id="2" creationId="{0E884B41-90D1-141A-E550-3EA3756A5F95}"/>
          </ac:spMkLst>
        </pc:spChg>
        <pc:spChg chg="add mod">
          <ac:chgData name="Liam Morden" userId="93761272-e958-47bd-a047-5952229592b0" providerId="ADAL" clId="{1BDE6FCE-89A3-4A75-8540-53475B34D2FF}" dt="2024-11-28T23:23:18.085" v="1226" actId="478"/>
          <ac:spMkLst>
            <pc:docMk/>
            <pc:sldMk cId="1578569842" sldId="263"/>
            <ac:spMk id="6" creationId="{17B2B662-0B62-6CCC-5026-05BD10DF3AD1}"/>
          </ac:spMkLst>
        </pc:spChg>
      </pc:sldChg>
      <pc:sldChg chg="addSp delSp modSp mod">
        <pc:chgData name="Liam Morden" userId="93761272-e958-47bd-a047-5952229592b0" providerId="ADAL" clId="{1BDE6FCE-89A3-4A75-8540-53475B34D2FF}" dt="2024-12-02T17:16:38.418" v="8292" actId="20577"/>
        <pc:sldMkLst>
          <pc:docMk/>
          <pc:sldMk cId="171056887" sldId="264"/>
        </pc:sldMkLst>
        <pc:spChg chg="mod">
          <ac:chgData name="Liam Morden" userId="93761272-e958-47bd-a047-5952229592b0" providerId="ADAL" clId="{1BDE6FCE-89A3-4A75-8540-53475B34D2FF}" dt="2024-12-02T17:16:38.418" v="8292" actId="20577"/>
          <ac:spMkLst>
            <pc:docMk/>
            <pc:sldMk cId="171056887" sldId="264"/>
            <ac:spMk id="2" creationId="{F194803B-8774-7A27-9367-31AD60113B1D}"/>
          </ac:spMkLst>
        </pc:spChg>
        <pc:spChg chg="add mod">
          <ac:chgData name="Liam Morden" userId="93761272-e958-47bd-a047-5952229592b0" providerId="ADAL" clId="{1BDE6FCE-89A3-4A75-8540-53475B34D2FF}" dt="2024-11-28T23:23:23.471" v="1228" actId="478"/>
          <ac:spMkLst>
            <pc:docMk/>
            <pc:sldMk cId="171056887" sldId="264"/>
            <ac:spMk id="6" creationId="{0FB5A06C-53E1-5D24-6923-AED331159C12}"/>
          </ac:spMkLst>
        </pc:spChg>
      </pc:sldChg>
      <pc:sldChg chg="addSp delSp modSp mod">
        <pc:chgData name="Liam Morden" userId="93761272-e958-47bd-a047-5952229592b0" providerId="ADAL" clId="{1BDE6FCE-89A3-4A75-8540-53475B34D2FF}" dt="2024-12-02T17:16:43.815" v="8294" actId="20577"/>
        <pc:sldMkLst>
          <pc:docMk/>
          <pc:sldMk cId="3796476361" sldId="266"/>
        </pc:sldMkLst>
        <pc:spChg chg="mod">
          <ac:chgData name="Liam Morden" userId="93761272-e958-47bd-a047-5952229592b0" providerId="ADAL" clId="{1BDE6FCE-89A3-4A75-8540-53475B34D2FF}" dt="2024-12-02T17:16:43.815" v="8294" actId="20577"/>
          <ac:spMkLst>
            <pc:docMk/>
            <pc:sldMk cId="3796476361" sldId="266"/>
            <ac:spMk id="2" creationId="{9B6023E8-1E52-E7A3-8BCF-0C3AED81D531}"/>
          </ac:spMkLst>
        </pc:spChg>
        <pc:spChg chg="add mod">
          <ac:chgData name="Liam Morden" userId="93761272-e958-47bd-a047-5952229592b0" providerId="ADAL" clId="{1BDE6FCE-89A3-4A75-8540-53475B34D2FF}" dt="2024-11-28T23:23:25.204" v="1229" actId="478"/>
          <ac:spMkLst>
            <pc:docMk/>
            <pc:sldMk cId="3796476361" sldId="266"/>
            <ac:spMk id="6" creationId="{31E75F42-A6FB-0D34-9F60-A5FDFA683B67}"/>
          </ac:spMkLst>
        </pc:spChg>
      </pc:sldChg>
      <pc:sldChg chg="addSp delSp modSp mod">
        <pc:chgData name="Liam Morden" userId="93761272-e958-47bd-a047-5952229592b0" providerId="ADAL" clId="{1BDE6FCE-89A3-4A75-8540-53475B34D2FF}" dt="2024-11-28T23:23:26.970" v="1230" actId="478"/>
        <pc:sldMkLst>
          <pc:docMk/>
          <pc:sldMk cId="1599467439" sldId="267"/>
        </pc:sldMkLst>
        <pc:spChg chg="add mod">
          <ac:chgData name="Liam Morden" userId="93761272-e958-47bd-a047-5952229592b0" providerId="ADAL" clId="{1BDE6FCE-89A3-4A75-8540-53475B34D2FF}" dt="2024-11-28T23:23:26.970" v="1230" actId="478"/>
          <ac:spMkLst>
            <pc:docMk/>
            <pc:sldMk cId="1599467439" sldId="267"/>
            <ac:spMk id="6" creationId="{0CCF76D0-3BA7-E0FF-E90C-E5403D0B4C22}"/>
          </ac:spMkLst>
        </pc:spChg>
      </pc:sldChg>
      <pc:sldChg chg="addSp delSp modSp mod">
        <pc:chgData name="Liam Morden" userId="93761272-e958-47bd-a047-5952229592b0" providerId="ADAL" clId="{1BDE6FCE-89A3-4A75-8540-53475B34D2FF}" dt="2024-11-28T23:23:29.424" v="1231" actId="478"/>
        <pc:sldMkLst>
          <pc:docMk/>
          <pc:sldMk cId="614813708" sldId="268"/>
        </pc:sldMkLst>
        <pc:spChg chg="add mod">
          <ac:chgData name="Liam Morden" userId="93761272-e958-47bd-a047-5952229592b0" providerId="ADAL" clId="{1BDE6FCE-89A3-4A75-8540-53475B34D2FF}" dt="2024-11-28T23:23:29.424" v="1231" actId="478"/>
          <ac:spMkLst>
            <pc:docMk/>
            <pc:sldMk cId="614813708" sldId="268"/>
            <ac:spMk id="6" creationId="{F454301B-E4AF-2B58-94F3-3FD85DBCC6EE}"/>
          </ac:spMkLst>
        </pc:spChg>
      </pc:sldChg>
      <pc:sldChg chg="addSp delSp modSp mod">
        <pc:chgData name="Liam Morden" userId="93761272-e958-47bd-a047-5952229592b0" providerId="ADAL" clId="{1BDE6FCE-89A3-4A75-8540-53475B34D2FF}" dt="2024-12-02T17:16:35.118" v="8290" actId="20577"/>
        <pc:sldMkLst>
          <pc:docMk/>
          <pc:sldMk cId="2951441161" sldId="269"/>
        </pc:sldMkLst>
        <pc:spChg chg="mod">
          <ac:chgData name="Liam Morden" userId="93761272-e958-47bd-a047-5952229592b0" providerId="ADAL" clId="{1BDE6FCE-89A3-4A75-8540-53475B34D2FF}" dt="2024-12-02T17:16:35.118" v="8290" actId="20577"/>
          <ac:spMkLst>
            <pc:docMk/>
            <pc:sldMk cId="2951441161" sldId="269"/>
            <ac:spMk id="2" creationId="{B810EE12-89D1-0B9B-15C5-6E030ECC6F19}"/>
          </ac:spMkLst>
        </pc:spChg>
        <pc:spChg chg="add mod">
          <ac:chgData name="Liam Morden" userId="93761272-e958-47bd-a047-5952229592b0" providerId="ADAL" clId="{1BDE6FCE-89A3-4A75-8540-53475B34D2FF}" dt="2024-11-28T23:23:21.385" v="1227" actId="478"/>
          <ac:spMkLst>
            <pc:docMk/>
            <pc:sldMk cId="2951441161" sldId="269"/>
            <ac:spMk id="6" creationId="{CF82257A-6840-3247-7273-A1AFE3C5FD3B}"/>
          </ac:spMkLst>
        </pc:spChg>
      </pc:sldChg>
      <pc:sldChg chg="addSp delSp modSp mod">
        <pc:chgData name="Liam Morden" userId="93761272-e958-47bd-a047-5952229592b0" providerId="ADAL" clId="{1BDE6FCE-89A3-4A75-8540-53475B34D2FF}" dt="2024-12-02T20:11:26.075" v="8635" actId="478"/>
        <pc:sldMkLst>
          <pc:docMk/>
          <pc:sldMk cId="602315547" sldId="270"/>
        </pc:sldMkLst>
        <pc:spChg chg="del">
          <ac:chgData name="Liam Morden" userId="93761272-e958-47bd-a047-5952229592b0" providerId="ADAL" clId="{1BDE6FCE-89A3-4A75-8540-53475B34D2FF}" dt="2024-12-01T06:45:53.785" v="5526" actId="478"/>
          <ac:spMkLst>
            <pc:docMk/>
            <pc:sldMk cId="602315547" sldId="270"/>
            <ac:spMk id="5" creationId="{4E2CD0B6-8FD7-1509-83E0-63AF37A8BD78}"/>
          </ac:spMkLst>
        </pc:spChg>
        <pc:spChg chg="mod">
          <ac:chgData name="Liam Morden" userId="93761272-e958-47bd-a047-5952229592b0" providerId="ADAL" clId="{1BDE6FCE-89A3-4A75-8540-53475B34D2FF}" dt="2024-12-02T17:17:26.414" v="8316" actId="20577"/>
          <ac:spMkLst>
            <pc:docMk/>
            <pc:sldMk cId="602315547" sldId="270"/>
            <ac:spMk id="6" creationId="{64A5CAB6-B341-18CE-145D-C363D1EF5334}"/>
          </ac:spMkLst>
        </pc:spChg>
        <pc:spChg chg="mod">
          <ac:chgData name="Liam Morden" userId="93761272-e958-47bd-a047-5952229592b0" providerId="ADAL" clId="{1BDE6FCE-89A3-4A75-8540-53475B34D2FF}" dt="2024-12-02T17:17:24.363" v="8314"/>
          <ac:spMkLst>
            <pc:docMk/>
            <pc:sldMk cId="602315547" sldId="270"/>
            <ac:spMk id="7" creationId="{AA2D9D26-7EC2-4C32-5A38-5626CCD5F662}"/>
          </ac:spMkLst>
        </pc:spChg>
        <pc:spChg chg="add del mod">
          <ac:chgData name="Liam Morden" userId="93761272-e958-47bd-a047-5952229592b0" providerId="ADAL" clId="{1BDE6FCE-89A3-4A75-8540-53475B34D2FF}" dt="2024-12-02T20:11:26.075" v="8635" actId="478"/>
          <ac:spMkLst>
            <pc:docMk/>
            <pc:sldMk cId="602315547" sldId="270"/>
            <ac:spMk id="8" creationId="{C6BBA563-E89A-ED9E-0952-6A366232A770}"/>
          </ac:spMkLst>
        </pc:spChg>
        <pc:spChg chg="mod">
          <ac:chgData name="Liam Morden" userId="93761272-e958-47bd-a047-5952229592b0" providerId="ADAL" clId="{1BDE6FCE-89A3-4A75-8540-53475B34D2FF}" dt="2024-12-02T17:16:58.658" v="8297" actId="20577"/>
          <ac:spMkLst>
            <pc:docMk/>
            <pc:sldMk cId="602315547" sldId="270"/>
            <ac:spMk id="12" creationId="{ED983260-F2B3-8B28-F871-E193190F75DC}"/>
          </ac:spMkLst>
        </pc:spChg>
        <pc:spChg chg="mod">
          <ac:chgData name="Liam Morden" userId="93761272-e958-47bd-a047-5952229592b0" providerId="ADAL" clId="{1BDE6FCE-89A3-4A75-8540-53475B34D2FF}" dt="2024-12-02T17:16:56.668" v="8295"/>
          <ac:spMkLst>
            <pc:docMk/>
            <pc:sldMk cId="602315547" sldId="270"/>
            <ac:spMk id="14" creationId="{520EF869-0942-67BC-D096-B50E2B930F47}"/>
          </ac:spMkLst>
        </pc:spChg>
        <pc:spChg chg="mod">
          <ac:chgData name="Liam Morden" userId="93761272-e958-47bd-a047-5952229592b0" providerId="ADAL" clId="{1BDE6FCE-89A3-4A75-8540-53475B34D2FF}" dt="2024-12-02T17:17:10.077" v="8307" actId="20577"/>
          <ac:spMkLst>
            <pc:docMk/>
            <pc:sldMk cId="602315547" sldId="270"/>
            <ac:spMk id="18" creationId="{38519A42-E838-937A-FFA0-52A2B89B6BAF}"/>
          </ac:spMkLst>
        </pc:spChg>
        <pc:spChg chg="mod">
          <ac:chgData name="Liam Morden" userId="93761272-e958-47bd-a047-5952229592b0" providerId="ADAL" clId="{1BDE6FCE-89A3-4A75-8540-53475B34D2FF}" dt="2024-12-02T17:17:06.884" v="8304"/>
          <ac:spMkLst>
            <pc:docMk/>
            <pc:sldMk cId="602315547" sldId="270"/>
            <ac:spMk id="19" creationId="{44252831-5319-CFC3-0E7E-7E846F41168A}"/>
          </ac:spMkLst>
        </pc:spChg>
        <pc:spChg chg="mod">
          <ac:chgData name="Liam Morden" userId="93761272-e958-47bd-a047-5952229592b0" providerId="ADAL" clId="{1BDE6FCE-89A3-4A75-8540-53475B34D2FF}" dt="2024-12-02T17:17:29.015" v="8318" actId="20577"/>
          <ac:spMkLst>
            <pc:docMk/>
            <pc:sldMk cId="602315547" sldId="270"/>
            <ac:spMk id="20" creationId="{DC2722AE-890C-7B2E-FE8D-20299FE35143}"/>
          </ac:spMkLst>
        </pc:spChg>
        <pc:spChg chg="mod">
          <ac:chgData name="Liam Morden" userId="93761272-e958-47bd-a047-5952229592b0" providerId="ADAL" clId="{1BDE6FCE-89A3-4A75-8540-53475B34D2FF}" dt="2024-12-02T17:17:31.595" v="8319"/>
          <ac:spMkLst>
            <pc:docMk/>
            <pc:sldMk cId="602315547" sldId="270"/>
            <ac:spMk id="21" creationId="{F3E9978B-A94E-8202-DC07-AB68F5FB06D3}"/>
          </ac:spMkLst>
        </pc:spChg>
        <pc:spChg chg="mod">
          <ac:chgData name="Liam Morden" userId="93761272-e958-47bd-a047-5952229592b0" providerId="ADAL" clId="{1BDE6FCE-89A3-4A75-8540-53475B34D2FF}" dt="2024-12-02T17:17:15.491" v="8310" actId="20577"/>
          <ac:spMkLst>
            <pc:docMk/>
            <pc:sldMk cId="602315547" sldId="270"/>
            <ac:spMk id="24" creationId="{969F84BC-68F3-2272-DE1D-E26E0044FE81}"/>
          </ac:spMkLst>
        </pc:spChg>
        <pc:spChg chg="mod">
          <ac:chgData name="Liam Morden" userId="93761272-e958-47bd-a047-5952229592b0" providerId="ADAL" clId="{1BDE6FCE-89A3-4A75-8540-53475B34D2FF}" dt="2024-12-02T17:17:13.645" v="8308"/>
          <ac:spMkLst>
            <pc:docMk/>
            <pc:sldMk cId="602315547" sldId="270"/>
            <ac:spMk id="25" creationId="{706A80FD-A34A-6AC8-1D3E-0BE02FCF3367}"/>
          </ac:spMkLst>
        </pc:spChg>
        <pc:spChg chg="mod">
          <ac:chgData name="Liam Morden" userId="93761272-e958-47bd-a047-5952229592b0" providerId="ADAL" clId="{1BDE6FCE-89A3-4A75-8540-53475B34D2FF}" dt="2024-12-02T17:17:20.890" v="8313" actId="20577"/>
          <ac:spMkLst>
            <pc:docMk/>
            <pc:sldMk cId="602315547" sldId="270"/>
            <ac:spMk id="28" creationId="{7C8A4413-71D2-6C6B-ADC1-7873059A11A3}"/>
          </ac:spMkLst>
        </pc:spChg>
        <pc:spChg chg="mod">
          <ac:chgData name="Liam Morden" userId="93761272-e958-47bd-a047-5952229592b0" providerId="ADAL" clId="{1BDE6FCE-89A3-4A75-8540-53475B34D2FF}" dt="2024-12-02T17:17:18.495" v="8311"/>
          <ac:spMkLst>
            <pc:docMk/>
            <pc:sldMk cId="602315547" sldId="270"/>
            <ac:spMk id="29" creationId="{FECB13C6-A29E-4031-6B34-842E1995AF66}"/>
          </ac:spMkLst>
        </pc:spChg>
        <pc:spChg chg="mod">
          <ac:chgData name="Liam Morden" userId="93761272-e958-47bd-a047-5952229592b0" providerId="ADAL" clId="{1BDE6FCE-89A3-4A75-8540-53475B34D2FF}" dt="2024-12-02T01:07:41.390" v="7640" actId="20577"/>
          <ac:spMkLst>
            <pc:docMk/>
            <pc:sldMk cId="602315547" sldId="270"/>
            <ac:spMk id="32" creationId="{94AD5B22-AF86-890A-C4EC-364D5327FB71}"/>
          </ac:spMkLst>
        </pc:spChg>
        <pc:spChg chg="mod">
          <ac:chgData name="Liam Morden" userId="93761272-e958-47bd-a047-5952229592b0" providerId="ADAL" clId="{1BDE6FCE-89A3-4A75-8540-53475B34D2FF}" dt="2024-12-02T17:17:00.724" v="8300" actId="20577"/>
          <ac:spMkLst>
            <pc:docMk/>
            <pc:sldMk cId="602315547" sldId="270"/>
            <ac:spMk id="36" creationId="{441E6959-0748-6A02-6BC7-13A963858AB1}"/>
          </ac:spMkLst>
        </pc:spChg>
        <pc:spChg chg="mod">
          <ac:chgData name="Liam Morden" userId="93761272-e958-47bd-a047-5952229592b0" providerId="ADAL" clId="{1BDE6FCE-89A3-4A75-8540-53475B34D2FF}" dt="2024-12-02T17:17:04.571" v="8303"/>
          <ac:spMkLst>
            <pc:docMk/>
            <pc:sldMk cId="602315547" sldId="270"/>
            <ac:spMk id="37" creationId="{F3C67577-418B-A7DD-30D9-C9E5377D8D9D}"/>
          </ac:spMkLst>
        </pc:spChg>
        <pc:grpChg chg="mod">
          <ac:chgData name="Liam Morden" userId="93761272-e958-47bd-a047-5952229592b0" providerId="ADAL" clId="{1BDE6FCE-89A3-4A75-8540-53475B34D2FF}" dt="2024-12-02T17:17:02.428" v="8302" actId="1076"/>
          <ac:grpSpMkLst>
            <pc:docMk/>
            <pc:sldMk cId="602315547" sldId="270"/>
            <ac:grpSpMk id="16" creationId="{4F3DE241-6D69-E559-4987-3056779BE584}"/>
          </ac:grpSpMkLst>
        </pc:grpChg>
        <pc:grpChg chg="mod">
          <ac:chgData name="Liam Morden" userId="93761272-e958-47bd-a047-5952229592b0" providerId="ADAL" clId="{1BDE6FCE-89A3-4A75-8540-53475B34D2FF}" dt="2024-12-02T17:16:59.268" v="8298" actId="1076"/>
          <ac:grpSpMkLst>
            <pc:docMk/>
            <pc:sldMk cId="602315547" sldId="270"/>
            <ac:grpSpMk id="22" creationId="{F51FF9E5-5025-CCF3-8438-8D51E48E13B5}"/>
          </ac:grpSpMkLst>
        </pc:grpChg>
        <pc:grpChg chg="del">
          <ac:chgData name="Liam Morden" userId="93761272-e958-47bd-a047-5952229592b0" providerId="ADAL" clId="{1BDE6FCE-89A3-4A75-8540-53475B34D2FF}" dt="2024-12-02T17:17:32.660" v="8320" actId="478"/>
          <ac:grpSpMkLst>
            <pc:docMk/>
            <pc:sldMk cId="602315547" sldId="270"/>
            <ac:grpSpMk id="30" creationId="{63FC9125-F41E-4B96-B154-1AECC33DDF3F}"/>
          </ac:grpSpMkLst>
        </pc:grpChg>
      </pc:sldChg>
      <pc:sldChg chg="addSp modSp del mod">
        <pc:chgData name="Liam Morden" userId="93761272-e958-47bd-a047-5952229592b0" providerId="ADAL" clId="{1BDE6FCE-89A3-4A75-8540-53475B34D2FF}" dt="2024-11-29T14:48:22.211" v="1491" actId="47"/>
        <pc:sldMkLst>
          <pc:docMk/>
          <pc:sldMk cId="4052889244" sldId="271"/>
        </pc:sldMkLst>
        <pc:graphicFrameChg chg="add mod">
          <ac:chgData name="Liam Morden" userId="93761272-e958-47bd-a047-5952229592b0" providerId="ADAL" clId="{1BDE6FCE-89A3-4A75-8540-53475B34D2FF}" dt="2024-11-29T14:47:19.521" v="1478" actId="14100"/>
          <ac:graphicFrameMkLst>
            <pc:docMk/>
            <pc:sldMk cId="4052889244" sldId="271"/>
            <ac:graphicFrameMk id="5" creationId="{5F8F5CEA-3634-9F00-5638-A8140C514590}"/>
          </ac:graphicFrameMkLst>
        </pc:graphicFrameChg>
      </pc:sldChg>
      <pc:sldChg chg="addSp delSp modSp mod">
        <pc:chgData name="Liam Morden" userId="93761272-e958-47bd-a047-5952229592b0" providerId="ADAL" clId="{1BDE6FCE-89A3-4A75-8540-53475B34D2FF}" dt="2024-12-02T20:11:36.882" v="8642" actId="478"/>
        <pc:sldMkLst>
          <pc:docMk/>
          <pc:sldMk cId="395644326" sldId="272"/>
        </pc:sldMkLst>
        <pc:spChg chg="add del mod">
          <ac:chgData name="Liam Morden" userId="93761272-e958-47bd-a047-5952229592b0" providerId="ADAL" clId="{1BDE6FCE-89A3-4A75-8540-53475B34D2FF}" dt="2024-12-02T20:11:36.882" v="8642" actId="478"/>
          <ac:spMkLst>
            <pc:docMk/>
            <pc:sldMk cId="395644326" sldId="272"/>
            <ac:spMk id="3" creationId="{9CDDDCDF-4427-40EE-EF0E-A1377B8D582E}"/>
          </ac:spMkLst>
        </pc:spChg>
        <pc:spChg chg="mod">
          <ac:chgData name="Liam Morden" userId="93761272-e958-47bd-a047-5952229592b0" providerId="ADAL" clId="{1BDE6FCE-89A3-4A75-8540-53475B34D2FF}" dt="2024-12-01T05:12:15.900" v="4801" actId="13926"/>
          <ac:spMkLst>
            <pc:docMk/>
            <pc:sldMk cId="395644326" sldId="272"/>
            <ac:spMk id="7" creationId="{588E85CF-3DF0-F67D-7685-EE384A084801}"/>
          </ac:spMkLst>
        </pc:spChg>
        <pc:graphicFrameChg chg="mod modGraphic">
          <ac:chgData name="Liam Morden" userId="93761272-e958-47bd-a047-5952229592b0" providerId="ADAL" clId="{1BDE6FCE-89A3-4A75-8540-53475B34D2FF}" dt="2024-12-01T06:02:55.374" v="5404" actId="20577"/>
          <ac:graphicFrameMkLst>
            <pc:docMk/>
            <pc:sldMk cId="395644326" sldId="272"/>
            <ac:graphicFrameMk id="43" creationId="{9C8BE00B-4A37-A415-40F3-D297AFE329DB}"/>
          </ac:graphicFrameMkLst>
        </pc:graphicFrameChg>
      </pc:sldChg>
      <pc:sldChg chg="addSp modSp del mod modShow">
        <pc:chgData name="Liam Morden" userId="93761272-e958-47bd-a047-5952229592b0" providerId="ADAL" clId="{1BDE6FCE-89A3-4A75-8540-53475B34D2FF}" dt="2024-12-01T06:34:29.421" v="5428" actId="47"/>
        <pc:sldMkLst>
          <pc:docMk/>
          <pc:sldMk cId="2137920764" sldId="273"/>
        </pc:sldMkLst>
        <pc:spChg chg="mod">
          <ac:chgData name="Liam Morden" userId="93761272-e958-47bd-a047-5952229592b0" providerId="ADAL" clId="{1BDE6FCE-89A3-4A75-8540-53475B34D2FF}" dt="2024-11-30T19:59:26.569" v="2824" actId="13926"/>
          <ac:spMkLst>
            <pc:docMk/>
            <pc:sldMk cId="2137920764" sldId="273"/>
            <ac:spMk id="2" creationId="{CCE349BD-575F-285F-7B45-325F18718BC8}"/>
          </ac:spMkLst>
        </pc:spChg>
        <pc:spChg chg="add mod">
          <ac:chgData name="Liam Morden" userId="93761272-e958-47bd-a047-5952229592b0" providerId="ADAL" clId="{1BDE6FCE-89A3-4A75-8540-53475B34D2FF}" dt="2024-12-01T04:10:54.998" v="3584" actId="207"/>
          <ac:spMkLst>
            <pc:docMk/>
            <pc:sldMk cId="2137920764" sldId="273"/>
            <ac:spMk id="3" creationId="{B6C6CF56-10F9-60A9-B484-EF64CE8450B8}"/>
          </ac:spMkLst>
        </pc:spChg>
      </pc:sldChg>
      <pc:sldChg chg="addSp delSp modSp del mod modShow modNotesTx">
        <pc:chgData name="Liam Morden" userId="93761272-e958-47bd-a047-5952229592b0" providerId="ADAL" clId="{1BDE6FCE-89A3-4A75-8540-53475B34D2FF}" dt="2024-12-01T04:49:21.825" v="3979" actId="47"/>
        <pc:sldMkLst>
          <pc:docMk/>
          <pc:sldMk cId="175464426" sldId="274"/>
        </pc:sldMkLst>
        <pc:spChg chg="del">
          <ac:chgData name="Liam Morden" userId="93761272-e958-47bd-a047-5952229592b0" providerId="ADAL" clId="{1BDE6FCE-89A3-4A75-8540-53475B34D2FF}" dt="2024-11-29T14:34:38.320" v="1453" actId="1957"/>
          <ac:spMkLst>
            <pc:docMk/>
            <pc:sldMk cId="175464426" sldId="274"/>
            <ac:spMk id="9" creationId="{021DC570-6A49-AC1D-7000-05B7C1323EC6}"/>
          </ac:spMkLst>
        </pc:spChg>
        <pc:spChg chg="mod">
          <ac:chgData name="Liam Morden" userId="93761272-e958-47bd-a047-5952229592b0" providerId="ADAL" clId="{1BDE6FCE-89A3-4A75-8540-53475B34D2FF}" dt="2024-11-30T19:42:29.445" v="2675" actId="20577"/>
          <ac:spMkLst>
            <pc:docMk/>
            <pc:sldMk cId="175464426" sldId="274"/>
            <ac:spMk id="15" creationId="{03F6BD32-4A23-54E3-7924-C4B02AFA902E}"/>
          </ac:spMkLst>
        </pc:spChg>
        <pc:spChg chg="add mod">
          <ac:chgData name="Liam Morden" userId="93761272-e958-47bd-a047-5952229592b0" providerId="ADAL" clId="{1BDE6FCE-89A3-4A75-8540-53475B34D2FF}" dt="2024-11-29T14:38:40.597" v="1458" actId="478"/>
          <ac:spMkLst>
            <pc:docMk/>
            <pc:sldMk cId="175464426" sldId="274"/>
            <ac:spMk id="19" creationId="{83D61FE8-E667-6143-0738-F694BA05D422}"/>
          </ac:spMkLst>
        </pc:spChg>
        <pc:graphicFrameChg chg="add del mod">
          <ac:chgData name="Liam Morden" userId="93761272-e958-47bd-a047-5952229592b0" providerId="ADAL" clId="{1BDE6FCE-89A3-4A75-8540-53475B34D2FF}" dt="2024-11-29T14:38:40.597" v="1458" actId="478"/>
          <ac:graphicFrameMkLst>
            <pc:docMk/>
            <pc:sldMk cId="175464426" sldId="274"/>
            <ac:graphicFrameMk id="17" creationId="{27D1AD20-4813-2069-F412-9209EA6201D2}"/>
          </ac:graphicFrameMkLst>
        </pc:graphicFrameChg>
      </pc:sldChg>
      <pc:sldChg chg="modSp del mod modShow">
        <pc:chgData name="Liam Morden" userId="93761272-e958-47bd-a047-5952229592b0" providerId="ADAL" clId="{1BDE6FCE-89A3-4A75-8540-53475B34D2FF}" dt="2024-12-01T05:11:36.658" v="4739" actId="47"/>
        <pc:sldMkLst>
          <pc:docMk/>
          <pc:sldMk cId="1226342917" sldId="275"/>
        </pc:sldMkLst>
        <pc:spChg chg="mod">
          <ac:chgData name="Liam Morden" userId="93761272-e958-47bd-a047-5952229592b0" providerId="ADAL" clId="{1BDE6FCE-89A3-4A75-8540-53475B34D2FF}" dt="2024-11-30T19:59:00.655" v="2816" actId="13926"/>
          <ac:spMkLst>
            <pc:docMk/>
            <pc:sldMk cId="1226342917" sldId="275"/>
            <ac:spMk id="3" creationId="{8785BD54-7DFB-AA79-1029-C7F61E6D6E69}"/>
          </ac:spMkLst>
        </pc:spChg>
      </pc:sldChg>
      <pc:sldChg chg="addSp delSp modSp mod">
        <pc:chgData name="Liam Morden" userId="93761272-e958-47bd-a047-5952229592b0" providerId="ADAL" clId="{1BDE6FCE-89A3-4A75-8540-53475B34D2FF}" dt="2024-12-02T20:11:40.368" v="8644" actId="478"/>
        <pc:sldMkLst>
          <pc:docMk/>
          <pc:sldMk cId="2613300315" sldId="277"/>
        </pc:sldMkLst>
        <pc:spChg chg="add del mod">
          <ac:chgData name="Liam Morden" userId="93761272-e958-47bd-a047-5952229592b0" providerId="ADAL" clId="{1BDE6FCE-89A3-4A75-8540-53475B34D2FF}" dt="2024-12-02T20:11:40.368" v="8644" actId="478"/>
          <ac:spMkLst>
            <pc:docMk/>
            <pc:sldMk cId="2613300315" sldId="277"/>
            <ac:spMk id="6" creationId="{1D9E9F7E-0457-C969-38C6-4DBE20F82DAF}"/>
          </ac:spMkLst>
        </pc:spChg>
        <pc:spChg chg="mod">
          <ac:chgData name="Liam Morden" userId="93761272-e958-47bd-a047-5952229592b0" providerId="ADAL" clId="{1BDE6FCE-89A3-4A75-8540-53475B34D2FF}" dt="2024-12-01T06:32:23.031" v="5422" actId="20577"/>
          <ac:spMkLst>
            <pc:docMk/>
            <pc:sldMk cId="2613300315" sldId="277"/>
            <ac:spMk id="9" creationId="{B7251C02-C105-B5EA-65BC-50C89E0ACA0F}"/>
          </ac:spMkLst>
        </pc:spChg>
        <pc:spChg chg="mod">
          <ac:chgData name="Liam Morden" userId="93761272-e958-47bd-a047-5952229592b0" providerId="ADAL" clId="{1BDE6FCE-89A3-4A75-8540-53475B34D2FF}" dt="2024-12-01T06:32:30.767" v="5426" actId="20577"/>
          <ac:spMkLst>
            <pc:docMk/>
            <pc:sldMk cId="2613300315" sldId="277"/>
            <ac:spMk id="11" creationId="{2A1DD375-2629-FEEA-4BE1-D64BE5E1329C}"/>
          </ac:spMkLst>
        </pc:spChg>
        <pc:spChg chg="mod">
          <ac:chgData name="Liam Morden" userId="93761272-e958-47bd-a047-5952229592b0" providerId="ADAL" clId="{1BDE6FCE-89A3-4A75-8540-53475B34D2FF}" dt="2024-12-01T06:32:19.063" v="5419" actId="20577"/>
          <ac:spMkLst>
            <pc:docMk/>
            <pc:sldMk cId="2613300315" sldId="277"/>
            <ac:spMk id="18" creationId="{AEC705EC-5FE4-04D5-B2CB-1233E975B298}"/>
          </ac:spMkLst>
        </pc:spChg>
        <pc:graphicFrameChg chg="mod">
          <ac:chgData name="Liam Morden" userId="93761272-e958-47bd-a047-5952229592b0" providerId="ADAL" clId="{1BDE6FCE-89A3-4A75-8540-53475B34D2FF}" dt="2024-12-01T21:42:50.739" v="7185" actId="207"/>
          <ac:graphicFrameMkLst>
            <pc:docMk/>
            <pc:sldMk cId="2613300315" sldId="277"/>
            <ac:graphicFrameMk id="16" creationId="{AFA96ADB-BD29-78CF-F180-1FD93F035922}"/>
          </ac:graphicFrameMkLst>
        </pc:graphicFrameChg>
      </pc:sldChg>
      <pc:sldChg chg="addSp delSp modSp mod modNotesTx">
        <pc:chgData name="Liam Morden" userId="93761272-e958-47bd-a047-5952229592b0" providerId="ADAL" clId="{1BDE6FCE-89A3-4A75-8540-53475B34D2FF}" dt="2024-12-02T20:12:44.685" v="8675" actId="5793"/>
        <pc:sldMkLst>
          <pc:docMk/>
          <pc:sldMk cId="3575588535" sldId="278"/>
        </pc:sldMkLst>
        <pc:spChg chg="mod">
          <ac:chgData name="Liam Morden" userId="93761272-e958-47bd-a047-5952229592b0" providerId="ADAL" clId="{1BDE6FCE-89A3-4A75-8540-53475B34D2FF}" dt="2024-11-29T14:39:33.064" v="1469" actId="20577"/>
          <ac:spMkLst>
            <pc:docMk/>
            <pc:sldMk cId="3575588535" sldId="278"/>
            <ac:spMk id="2" creationId="{F9AEEB4D-D331-0867-CA13-B83921CCAEBB}"/>
          </ac:spMkLst>
        </pc:spChg>
        <pc:spChg chg="mod">
          <ac:chgData name="Liam Morden" userId="93761272-e958-47bd-a047-5952229592b0" providerId="ADAL" clId="{1BDE6FCE-89A3-4A75-8540-53475B34D2FF}" dt="2024-11-28T23:34:37.333" v="1393" actId="20577"/>
          <ac:spMkLst>
            <pc:docMk/>
            <pc:sldMk cId="3575588535" sldId="278"/>
            <ac:spMk id="3" creationId="{36AC9322-1EFA-5552-6913-AB2CDAD7C12A}"/>
          </ac:spMkLst>
        </pc:spChg>
        <pc:spChg chg="mod">
          <ac:chgData name="Liam Morden" userId="93761272-e958-47bd-a047-5952229592b0" providerId="ADAL" clId="{1BDE6FCE-89A3-4A75-8540-53475B34D2FF}" dt="2024-11-28T23:31:36.597" v="1388" actId="20577"/>
          <ac:spMkLst>
            <pc:docMk/>
            <pc:sldMk cId="3575588535" sldId="278"/>
            <ac:spMk id="5" creationId="{7FE8D84E-3591-62F6-B9EA-8EA959DF4F0C}"/>
          </ac:spMkLst>
        </pc:spChg>
        <pc:spChg chg="add">
          <ac:chgData name="Liam Morden" userId="93761272-e958-47bd-a047-5952229592b0" providerId="ADAL" clId="{1BDE6FCE-89A3-4A75-8540-53475B34D2FF}" dt="2024-11-28T22:16:26.993" v="903" actId="11529"/>
          <ac:spMkLst>
            <pc:docMk/>
            <pc:sldMk cId="3575588535" sldId="278"/>
            <ac:spMk id="6" creationId="{A34D9168-27E9-D373-E535-3808AF5349D4}"/>
          </ac:spMkLst>
        </pc:spChg>
        <pc:spChg chg="mod">
          <ac:chgData name="Liam Morden" userId="93761272-e958-47bd-a047-5952229592b0" providerId="ADAL" clId="{1BDE6FCE-89A3-4A75-8540-53475B34D2FF}" dt="2024-12-01T06:31:25.553" v="5417" actId="20577"/>
          <ac:spMkLst>
            <pc:docMk/>
            <pc:sldMk cId="3575588535" sldId="278"/>
            <ac:spMk id="7" creationId="{230957FE-CA27-F6BC-157D-232B1C617A2A}"/>
          </ac:spMkLst>
        </pc:spChg>
        <pc:spChg chg="mod">
          <ac:chgData name="Liam Morden" userId="93761272-e958-47bd-a047-5952229592b0" providerId="ADAL" clId="{1BDE6FCE-89A3-4A75-8540-53475B34D2FF}" dt="2024-12-02T20:06:21.507" v="8515" actId="20577"/>
          <ac:spMkLst>
            <pc:docMk/>
            <pc:sldMk cId="3575588535" sldId="278"/>
            <ac:spMk id="8" creationId="{8FD6EF92-7AC8-92F2-2BC8-6884526D88D9}"/>
          </ac:spMkLst>
        </pc:spChg>
        <pc:spChg chg="add del mod">
          <ac:chgData name="Liam Morden" userId="93761272-e958-47bd-a047-5952229592b0" providerId="ADAL" clId="{1BDE6FCE-89A3-4A75-8540-53475B34D2FF}" dt="2024-12-02T20:11:41.963" v="8645" actId="478"/>
          <ac:spMkLst>
            <pc:docMk/>
            <pc:sldMk cId="3575588535" sldId="278"/>
            <ac:spMk id="9" creationId="{FD62108B-D725-88E2-A016-A3E511B90710}"/>
          </ac:spMkLst>
        </pc:spChg>
        <pc:spChg chg="mod">
          <ac:chgData name="Liam Morden" userId="93761272-e958-47bd-a047-5952229592b0" providerId="ADAL" clId="{1BDE6FCE-89A3-4A75-8540-53475B34D2FF}" dt="2024-12-02T20:05:16.485" v="8508"/>
          <ac:spMkLst>
            <pc:docMk/>
            <pc:sldMk cId="3575588535" sldId="278"/>
            <ac:spMk id="10" creationId="{44B205E4-DD12-44AD-BDE0-0DF9137D4EB0}"/>
          </ac:spMkLst>
        </pc:spChg>
        <pc:spChg chg="mod">
          <ac:chgData name="Liam Morden" userId="93761272-e958-47bd-a047-5952229592b0" providerId="ADAL" clId="{1BDE6FCE-89A3-4A75-8540-53475B34D2FF}" dt="2024-12-02T20:08:28.342" v="8579" actId="20577"/>
          <ac:spMkLst>
            <pc:docMk/>
            <pc:sldMk cId="3575588535" sldId="278"/>
            <ac:spMk id="11" creationId="{53B68ED9-2B8F-67FD-3E29-0470375CA74F}"/>
          </ac:spMkLst>
        </pc:spChg>
        <pc:spChg chg="mod">
          <ac:chgData name="Liam Morden" userId="93761272-e958-47bd-a047-5952229592b0" providerId="ADAL" clId="{1BDE6FCE-89A3-4A75-8540-53475B34D2FF}" dt="2024-12-02T20:11:02.586" v="8632" actId="20577"/>
          <ac:spMkLst>
            <pc:docMk/>
            <pc:sldMk cId="3575588535" sldId="278"/>
            <ac:spMk id="12" creationId="{3DBE1058-E718-4B90-2822-1E3AAA9635E0}"/>
          </ac:spMkLst>
        </pc:spChg>
        <pc:spChg chg="add mod">
          <ac:chgData name="Liam Morden" userId="93761272-e958-47bd-a047-5952229592b0" providerId="ADAL" clId="{1BDE6FCE-89A3-4A75-8540-53475B34D2FF}" dt="2024-11-28T22:24:05.263" v="1061" actId="1076"/>
          <ac:spMkLst>
            <pc:docMk/>
            <pc:sldMk cId="3575588535" sldId="278"/>
            <ac:spMk id="13" creationId="{AE4CCBF7-8C89-E48A-3022-E47577FF3558}"/>
          </ac:spMkLst>
        </pc:spChg>
        <pc:spChg chg="add mod">
          <ac:chgData name="Liam Morden" userId="93761272-e958-47bd-a047-5952229592b0" providerId="ADAL" clId="{1BDE6FCE-89A3-4A75-8540-53475B34D2FF}" dt="2024-11-28T22:16:50.517" v="907" actId="1076"/>
          <ac:spMkLst>
            <pc:docMk/>
            <pc:sldMk cId="3575588535" sldId="278"/>
            <ac:spMk id="14" creationId="{290E2676-F8A7-08F6-E459-B13EFB10B936}"/>
          </ac:spMkLst>
        </pc:spChg>
        <pc:spChg chg="add del mod">
          <ac:chgData name="Liam Morden" userId="93761272-e958-47bd-a047-5952229592b0" providerId="ADAL" clId="{1BDE6FCE-89A3-4A75-8540-53475B34D2FF}" dt="2024-11-28T22:24:17.387" v="1075" actId="20577"/>
          <ac:spMkLst>
            <pc:docMk/>
            <pc:sldMk cId="3575588535" sldId="278"/>
            <ac:spMk id="16" creationId="{3DBC6F8A-28FB-0E88-B1A3-1C572DF825B5}"/>
          </ac:spMkLst>
        </pc:spChg>
        <pc:spChg chg="add mod">
          <ac:chgData name="Liam Morden" userId="93761272-e958-47bd-a047-5952229592b0" providerId="ADAL" clId="{1BDE6FCE-89A3-4A75-8540-53475B34D2FF}" dt="2024-11-28T22:21:43.751" v="1014" actId="1076"/>
          <ac:spMkLst>
            <pc:docMk/>
            <pc:sldMk cId="3575588535" sldId="278"/>
            <ac:spMk id="17" creationId="{24D58427-2FC8-770A-AB18-42E1373D1606}"/>
          </ac:spMkLst>
        </pc:spChg>
        <pc:spChg chg="add mod">
          <ac:chgData name="Liam Morden" userId="93761272-e958-47bd-a047-5952229592b0" providerId="ADAL" clId="{1BDE6FCE-89A3-4A75-8540-53475B34D2FF}" dt="2024-11-28T22:19:09.610" v="968" actId="20577"/>
          <ac:spMkLst>
            <pc:docMk/>
            <pc:sldMk cId="3575588535" sldId="278"/>
            <ac:spMk id="18" creationId="{6277E484-BF3D-D1E4-D785-E1B0FBAAB566}"/>
          </ac:spMkLst>
        </pc:spChg>
        <pc:spChg chg="add mod">
          <ac:chgData name="Liam Morden" userId="93761272-e958-47bd-a047-5952229592b0" providerId="ADAL" clId="{1BDE6FCE-89A3-4A75-8540-53475B34D2FF}" dt="2024-12-02T20:12:44.685" v="8675" actId="5793"/>
          <ac:spMkLst>
            <pc:docMk/>
            <pc:sldMk cId="3575588535" sldId="278"/>
            <ac:spMk id="22" creationId="{5CACCE5C-21CE-6821-E661-4C0B7DA3E2D5}"/>
          </ac:spMkLst>
        </pc:spChg>
        <pc:spChg chg="add mod">
          <ac:chgData name="Liam Morden" userId="93761272-e958-47bd-a047-5952229592b0" providerId="ADAL" clId="{1BDE6FCE-89A3-4A75-8540-53475B34D2FF}" dt="2024-11-28T23:36:49.381" v="1405" actId="1076"/>
          <ac:spMkLst>
            <pc:docMk/>
            <pc:sldMk cId="3575588535" sldId="278"/>
            <ac:spMk id="23" creationId="{0D917534-AE89-B416-461F-DCA92FA9DF3E}"/>
          </ac:spMkLst>
        </pc:spChg>
        <pc:spChg chg="add mod">
          <ac:chgData name="Liam Morden" userId="93761272-e958-47bd-a047-5952229592b0" providerId="ADAL" clId="{1BDE6FCE-89A3-4A75-8540-53475B34D2FF}" dt="2024-11-28T23:38:59.114" v="1451" actId="1076"/>
          <ac:spMkLst>
            <pc:docMk/>
            <pc:sldMk cId="3575588535" sldId="278"/>
            <ac:spMk id="25" creationId="{17B91C36-6D14-DBE6-954E-A5186136A75C}"/>
          </ac:spMkLst>
        </pc:spChg>
        <pc:graphicFrameChg chg="add mod">
          <ac:chgData name="Liam Morden" userId="93761272-e958-47bd-a047-5952229592b0" providerId="ADAL" clId="{1BDE6FCE-89A3-4A75-8540-53475B34D2FF}" dt="2024-12-01T21:43:25.576" v="7193" actId="207"/>
          <ac:graphicFrameMkLst>
            <pc:docMk/>
            <pc:sldMk cId="3575588535" sldId="278"/>
            <ac:graphicFrameMk id="15" creationId="{AFA634B6-FFEF-BB98-E515-51CD713B59A5}"/>
          </ac:graphicFrameMkLst>
        </pc:graphicFrameChg>
        <pc:graphicFrameChg chg="add mod">
          <ac:chgData name="Liam Morden" userId="93761272-e958-47bd-a047-5952229592b0" providerId="ADAL" clId="{1BDE6FCE-89A3-4A75-8540-53475B34D2FF}" dt="2024-12-01T21:42:05.409" v="7181" actId="207"/>
          <ac:graphicFrameMkLst>
            <pc:docMk/>
            <pc:sldMk cId="3575588535" sldId="278"/>
            <ac:graphicFrameMk id="21" creationId="{F380039E-7D26-134B-54A4-67D0F9DE8393}"/>
          </ac:graphicFrameMkLst>
        </pc:graphicFrameChg>
        <pc:picChg chg="add mod">
          <ac:chgData name="Liam Morden" userId="93761272-e958-47bd-a047-5952229592b0" providerId="ADAL" clId="{1BDE6FCE-89A3-4A75-8540-53475B34D2FF}" dt="2024-11-28T22:46:05.405" v="1186" actId="1076"/>
          <ac:picMkLst>
            <pc:docMk/>
            <pc:sldMk cId="3575588535" sldId="278"/>
            <ac:picMk id="1026" creationId="{51E66449-2734-DD28-0AEF-261C3AA394CB}"/>
          </ac:picMkLst>
        </pc:picChg>
      </pc:sldChg>
      <pc:sldChg chg="del">
        <pc:chgData name="Liam Morden" userId="93761272-e958-47bd-a047-5952229592b0" providerId="ADAL" clId="{1BDE6FCE-89A3-4A75-8540-53475B34D2FF}" dt="2024-11-20T00:59:46.436" v="179" actId="47"/>
        <pc:sldMkLst>
          <pc:docMk/>
          <pc:sldMk cId="968747672" sldId="279"/>
        </pc:sldMkLst>
      </pc:sldChg>
      <pc:sldChg chg="add del">
        <pc:chgData name="Liam Morden" userId="93761272-e958-47bd-a047-5952229592b0" providerId="ADAL" clId="{1BDE6FCE-89A3-4A75-8540-53475B34D2FF}" dt="2024-11-30T19:44:36.753" v="2731" actId="47"/>
        <pc:sldMkLst>
          <pc:docMk/>
          <pc:sldMk cId="1228170884" sldId="280"/>
        </pc:sldMkLst>
      </pc:sldChg>
      <pc:sldChg chg="del mod modShow">
        <pc:chgData name="Liam Morden" userId="93761272-e958-47bd-a047-5952229592b0" providerId="ADAL" clId="{1BDE6FCE-89A3-4A75-8540-53475B34D2FF}" dt="2024-12-01T05:04:57.184" v="4573" actId="47"/>
        <pc:sldMkLst>
          <pc:docMk/>
          <pc:sldMk cId="3348576610" sldId="282"/>
        </pc:sldMkLst>
      </pc:sldChg>
      <pc:sldChg chg="addSp delSp modSp del mod modShow">
        <pc:chgData name="Liam Morden" userId="93761272-e958-47bd-a047-5952229592b0" providerId="ADAL" clId="{1BDE6FCE-89A3-4A75-8540-53475B34D2FF}" dt="2024-11-30T18:58:15.944" v="2473" actId="47"/>
        <pc:sldMkLst>
          <pc:docMk/>
          <pc:sldMk cId="2650396413" sldId="283"/>
        </pc:sldMkLst>
        <pc:spChg chg="mod">
          <ac:chgData name="Liam Morden" userId="93761272-e958-47bd-a047-5952229592b0" providerId="ADAL" clId="{1BDE6FCE-89A3-4A75-8540-53475B34D2FF}" dt="2024-11-17T20:35:57.541" v="178" actId="20577"/>
          <ac:spMkLst>
            <pc:docMk/>
            <pc:sldMk cId="2650396413" sldId="283"/>
            <ac:spMk id="4" creationId="{F0623002-A2F8-6E31-9FCD-636358EF03FC}"/>
          </ac:spMkLst>
        </pc:spChg>
        <pc:spChg chg="mod">
          <ac:chgData name="Liam Morden" userId="93761272-e958-47bd-a047-5952229592b0" providerId="ADAL" clId="{1BDE6FCE-89A3-4A75-8540-53475B34D2FF}" dt="2024-11-30T00:17:54.650" v="1802" actId="1076"/>
          <ac:spMkLst>
            <pc:docMk/>
            <pc:sldMk cId="2650396413" sldId="283"/>
            <ac:spMk id="6" creationId="{0E8E7088-CE88-C8D7-D066-0CC90AFF281E}"/>
          </ac:spMkLst>
        </pc:spChg>
        <pc:spChg chg="add mod">
          <ac:chgData name="Liam Morden" userId="93761272-e958-47bd-a047-5952229592b0" providerId="ADAL" clId="{1BDE6FCE-89A3-4A75-8540-53475B34D2FF}" dt="2024-11-17T20:33:21.344" v="115" actId="20577"/>
          <ac:spMkLst>
            <pc:docMk/>
            <pc:sldMk cId="2650396413" sldId="283"/>
            <ac:spMk id="9" creationId="{E6FF0129-53B7-9396-F371-349CF1E02E12}"/>
          </ac:spMkLst>
        </pc:spChg>
        <pc:spChg chg="add mod">
          <ac:chgData name="Liam Morden" userId="93761272-e958-47bd-a047-5952229592b0" providerId="ADAL" clId="{1BDE6FCE-89A3-4A75-8540-53475B34D2FF}" dt="2024-11-17T20:33:35.232" v="120" actId="20577"/>
          <ac:spMkLst>
            <pc:docMk/>
            <pc:sldMk cId="2650396413" sldId="283"/>
            <ac:spMk id="10" creationId="{2D9D1138-2C94-4555-D1C2-90EE90E9F8A6}"/>
          </ac:spMkLst>
        </pc:spChg>
        <pc:spChg chg="add mod">
          <ac:chgData name="Liam Morden" userId="93761272-e958-47bd-a047-5952229592b0" providerId="ADAL" clId="{1BDE6FCE-89A3-4A75-8540-53475B34D2FF}" dt="2024-11-17T20:33:38.494" v="133" actId="20577"/>
          <ac:spMkLst>
            <pc:docMk/>
            <pc:sldMk cId="2650396413" sldId="283"/>
            <ac:spMk id="11" creationId="{04AF4FB9-683C-3266-41CB-F88DB25BB3C0}"/>
          </ac:spMkLst>
        </pc:spChg>
        <pc:spChg chg="add mod">
          <ac:chgData name="Liam Morden" userId="93761272-e958-47bd-a047-5952229592b0" providerId="ADAL" clId="{1BDE6FCE-89A3-4A75-8540-53475B34D2FF}" dt="2024-11-17T20:33:52.263" v="141" actId="20577"/>
          <ac:spMkLst>
            <pc:docMk/>
            <pc:sldMk cId="2650396413" sldId="283"/>
            <ac:spMk id="12" creationId="{20F7E423-F6D9-7E70-D7ED-5F4B8ACAD2E2}"/>
          </ac:spMkLst>
        </pc:spChg>
        <pc:spChg chg="add mod">
          <ac:chgData name="Liam Morden" userId="93761272-e958-47bd-a047-5952229592b0" providerId="ADAL" clId="{1BDE6FCE-89A3-4A75-8540-53475B34D2FF}" dt="2024-11-17T20:33:50.619" v="140" actId="20577"/>
          <ac:spMkLst>
            <pc:docMk/>
            <pc:sldMk cId="2650396413" sldId="283"/>
            <ac:spMk id="13" creationId="{4801CFE9-3996-E059-FDE4-1798DC7DA63F}"/>
          </ac:spMkLst>
        </pc:spChg>
        <pc:spChg chg="add mod">
          <ac:chgData name="Liam Morden" userId="93761272-e958-47bd-a047-5952229592b0" providerId="ADAL" clId="{1BDE6FCE-89A3-4A75-8540-53475B34D2FF}" dt="2024-11-17T20:33:32.239" v="119" actId="20577"/>
          <ac:spMkLst>
            <pc:docMk/>
            <pc:sldMk cId="2650396413" sldId="283"/>
            <ac:spMk id="14" creationId="{C8ECCDBA-EA37-8F29-4E2D-C962C7432702}"/>
          </ac:spMkLst>
        </pc:spChg>
        <pc:spChg chg="add mod">
          <ac:chgData name="Liam Morden" userId="93761272-e958-47bd-a047-5952229592b0" providerId="ADAL" clId="{1BDE6FCE-89A3-4A75-8540-53475B34D2FF}" dt="2024-11-17T20:33:42.510" v="136" actId="20577"/>
          <ac:spMkLst>
            <pc:docMk/>
            <pc:sldMk cId="2650396413" sldId="283"/>
            <ac:spMk id="15" creationId="{FC8286B6-71E3-CEE8-CAF0-0DB325B575F5}"/>
          </ac:spMkLst>
        </pc:spChg>
        <pc:spChg chg="add mod">
          <ac:chgData name="Liam Morden" userId="93761272-e958-47bd-a047-5952229592b0" providerId="ADAL" clId="{1BDE6FCE-89A3-4A75-8540-53475B34D2FF}" dt="2024-11-17T20:33:43.914" v="137" actId="20577"/>
          <ac:spMkLst>
            <pc:docMk/>
            <pc:sldMk cId="2650396413" sldId="283"/>
            <ac:spMk id="16" creationId="{076FF929-6278-54F2-E013-FBC559643D21}"/>
          </ac:spMkLst>
        </pc:spChg>
        <pc:spChg chg="add mod">
          <ac:chgData name="Liam Morden" userId="93761272-e958-47bd-a047-5952229592b0" providerId="ADAL" clId="{1BDE6FCE-89A3-4A75-8540-53475B34D2FF}" dt="2024-11-17T20:33:48.677" v="139" actId="20577"/>
          <ac:spMkLst>
            <pc:docMk/>
            <pc:sldMk cId="2650396413" sldId="283"/>
            <ac:spMk id="17" creationId="{A8FC7630-9FB2-BD9B-15B7-2B922F5BF8B0}"/>
          </ac:spMkLst>
        </pc:spChg>
        <pc:spChg chg="add mod">
          <ac:chgData name="Liam Morden" userId="93761272-e958-47bd-a047-5952229592b0" providerId="ADAL" clId="{1BDE6FCE-89A3-4A75-8540-53475B34D2FF}" dt="2024-11-17T20:33:28.411" v="118" actId="20577"/>
          <ac:spMkLst>
            <pc:docMk/>
            <pc:sldMk cId="2650396413" sldId="283"/>
            <ac:spMk id="18" creationId="{8C947625-6F05-0704-5D7D-EB24A5980B9C}"/>
          </ac:spMkLst>
        </pc:spChg>
        <pc:spChg chg="add mod">
          <ac:chgData name="Liam Morden" userId="93761272-e958-47bd-a047-5952229592b0" providerId="ADAL" clId="{1BDE6FCE-89A3-4A75-8540-53475B34D2FF}" dt="2024-11-17T20:32:36.874" v="81"/>
          <ac:spMkLst>
            <pc:docMk/>
            <pc:sldMk cId="2650396413" sldId="283"/>
            <ac:spMk id="19" creationId="{2A00C075-C3E7-13A1-1EA1-ACB0785F97E9}"/>
          </ac:spMkLst>
        </pc:spChg>
        <pc:spChg chg="add mod">
          <ac:chgData name="Liam Morden" userId="93761272-e958-47bd-a047-5952229592b0" providerId="ADAL" clId="{1BDE6FCE-89A3-4A75-8540-53475B34D2FF}" dt="2024-11-17T20:32:36.874" v="81"/>
          <ac:spMkLst>
            <pc:docMk/>
            <pc:sldMk cId="2650396413" sldId="283"/>
            <ac:spMk id="20" creationId="{CDF627ED-275B-7F3F-3FD2-80CACD84404F}"/>
          </ac:spMkLst>
        </pc:spChg>
        <pc:spChg chg="add mod">
          <ac:chgData name="Liam Morden" userId="93761272-e958-47bd-a047-5952229592b0" providerId="ADAL" clId="{1BDE6FCE-89A3-4A75-8540-53475B34D2FF}" dt="2024-11-17T20:32:36.874" v="81"/>
          <ac:spMkLst>
            <pc:docMk/>
            <pc:sldMk cId="2650396413" sldId="283"/>
            <ac:spMk id="21" creationId="{481AF140-AB76-BED8-4178-33457C0EF47A}"/>
          </ac:spMkLst>
        </pc:spChg>
        <pc:spChg chg="add mod">
          <ac:chgData name="Liam Morden" userId="93761272-e958-47bd-a047-5952229592b0" providerId="ADAL" clId="{1BDE6FCE-89A3-4A75-8540-53475B34D2FF}" dt="2024-11-17T20:32:36.874" v="81"/>
          <ac:spMkLst>
            <pc:docMk/>
            <pc:sldMk cId="2650396413" sldId="283"/>
            <ac:spMk id="22" creationId="{A6E04878-EE80-CD66-6A6E-676EC449679B}"/>
          </ac:spMkLst>
        </pc:spChg>
        <pc:spChg chg="add mod">
          <ac:chgData name="Liam Morden" userId="93761272-e958-47bd-a047-5952229592b0" providerId="ADAL" clId="{1BDE6FCE-89A3-4A75-8540-53475B34D2FF}" dt="2024-11-17T20:34:05.682" v="152" actId="20577"/>
          <ac:spMkLst>
            <pc:docMk/>
            <pc:sldMk cId="2650396413" sldId="283"/>
            <ac:spMk id="23" creationId="{24C7B665-C6D1-BE6A-DD49-F369DF6ECF6D}"/>
          </ac:spMkLst>
        </pc:spChg>
        <pc:spChg chg="add mod">
          <ac:chgData name="Liam Morden" userId="93761272-e958-47bd-a047-5952229592b0" providerId="ADAL" clId="{1BDE6FCE-89A3-4A75-8540-53475B34D2FF}" dt="2024-11-17T20:33:57.976" v="145" actId="20577"/>
          <ac:spMkLst>
            <pc:docMk/>
            <pc:sldMk cId="2650396413" sldId="283"/>
            <ac:spMk id="24" creationId="{3A1EBC55-90D1-A597-63CA-1E7E32DA5DB0}"/>
          </ac:spMkLst>
        </pc:spChg>
        <pc:spChg chg="add mod">
          <ac:chgData name="Liam Morden" userId="93761272-e958-47bd-a047-5952229592b0" providerId="ADAL" clId="{1BDE6FCE-89A3-4A75-8540-53475B34D2FF}" dt="2024-11-17T20:34:03.551" v="150" actId="20577"/>
          <ac:spMkLst>
            <pc:docMk/>
            <pc:sldMk cId="2650396413" sldId="283"/>
            <ac:spMk id="25" creationId="{5DE79E72-BF4C-21F8-D732-8B4E25D7EB57}"/>
          </ac:spMkLst>
        </pc:spChg>
        <pc:spChg chg="add mod">
          <ac:chgData name="Liam Morden" userId="93761272-e958-47bd-a047-5952229592b0" providerId="ADAL" clId="{1BDE6FCE-89A3-4A75-8540-53475B34D2FF}" dt="2024-11-17T20:34:00.580" v="147" actId="20577"/>
          <ac:spMkLst>
            <pc:docMk/>
            <pc:sldMk cId="2650396413" sldId="283"/>
            <ac:spMk id="26" creationId="{EAEBB333-3693-7AED-914E-79BA528230E5}"/>
          </ac:spMkLst>
        </pc:spChg>
        <pc:spChg chg="add mod">
          <ac:chgData name="Liam Morden" userId="93761272-e958-47bd-a047-5952229592b0" providerId="ADAL" clId="{1BDE6FCE-89A3-4A75-8540-53475B34D2FF}" dt="2024-11-17T20:32:36.874" v="81"/>
          <ac:spMkLst>
            <pc:docMk/>
            <pc:sldMk cId="2650396413" sldId="283"/>
            <ac:spMk id="27" creationId="{35D13A3F-350C-3432-D15B-A9FF11A79E41}"/>
          </ac:spMkLst>
        </pc:spChg>
        <pc:spChg chg="add mod">
          <ac:chgData name="Liam Morden" userId="93761272-e958-47bd-a047-5952229592b0" providerId="ADAL" clId="{1BDE6FCE-89A3-4A75-8540-53475B34D2FF}" dt="2024-11-17T20:32:36.874" v="81"/>
          <ac:spMkLst>
            <pc:docMk/>
            <pc:sldMk cId="2650396413" sldId="283"/>
            <ac:spMk id="28" creationId="{31022525-7A55-E663-22E3-6033347C87FF}"/>
          </ac:spMkLst>
        </pc:spChg>
        <pc:spChg chg="add mod">
          <ac:chgData name="Liam Morden" userId="93761272-e958-47bd-a047-5952229592b0" providerId="ADAL" clId="{1BDE6FCE-89A3-4A75-8540-53475B34D2FF}" dt="2024-11-17T20:32:36.874" v="81"/>
          <ac:spMkLst>
            <pc:docMk/>
            <pc:sldMk cId="2650396413" sldId="283"/>
            <ac:spMk id="29" creationId="{320491E1-5062-E1BB-7625-CF51C6FB55AA}"/>
          </ac:spMkLst>
        </pc:spChg>
        <pc:spChg chg="add mod">
          <ac:chgData name="Liam Morden" userId="93761272-e958-47bd-a047-5952229592b0" providerId="ADAL" clId="{1BDE6FCE-89A3-4A75-8540-53475B34D2FF}" dt="2024-11-17T20:32:36.874" v="81"/>
          <ac:spMkLst>
            <pc:docMk/>
            <pc:sldMk cId="2650396413" sldId="283"/>
            <ac:spMk id="30" creationId="{F2CCE248-DA52-B661-B7B0-83C6A592EE7F}"/>
          </ac:spMkLst>
        </pc:spChg>
      </pc:sldChg>
      <pc:sldChg chg="delSp modSp mod">
        <pc:chgData name="Liam Morden" userId="93761272-e958-47bd-a047-5952229592b0" providerId="ADAL" clId="{1BDE6FCE-89A3-4A75-8540-53475B34D2FF}" dt="2024-11-30T00:18:03.010" v="1839" actId="20577"/>
        <pc:sldMkLst>
          <pc:docMk/>
          <pc:sldMk cId="1334572874" sldId="284"/>
        </pc:sldMkLst>
        <pc:spChg chg="mod">
          <ac:chgData name="Liam Morden" userId="93761272-e958-47bd-a047-5952229592b0" providerId="ADAL" clId="{1BDE6FCE-89A3-4A75-8540-53475B34D2FF}" dt="2024-11-30T00:18:03.010" v="1839" actId="20577"/>
          <ac:spMkLst>
            <pc:docMk/>
            <pc:sldMk cId="1334572874" sldId="284"/>
            <ac:spMk id="4" creationId="{871883D4-909A-4EDB-B944-25D164E39D8D}"/>
          </ac:spMkLst>
        </pc:spChg>
        <pc:spChg chg="del">
          <ac:chgData name="Liam Morden" userId="93761272-e958-47bd-a047-5952229592b0" providerId="ADAL" clId="{1BDE6FCE-89A3-4A75-8540-53475B34D2FF}" dt="2024-11-30T00:17:06.662" v="1749" actId="478"/>
          <ac:spMkLst>
            <pc:docMk/>
            <pc:sldMk cId="1334572874" sldId="284"/>
            <ac:spMk id="5" creationId="{540FAC9F-65E5-F533-C4D5-377E7B6ECF84}"/>
          </ac:spMkLst>
        </pc:spChg>
        <pc:spChg chg="del">
          <ac:chgData name="Liam Morden" userId="93761272-e958-47bd-a047-5952229592b0" providerId="ADAL" clId="{1BDE6FCE-89A3-4A75-8540-53475B34D2FF}" dt="2024-11-30T00:17:08.117" v="1750" actId="478"/>
          <ac:spMkLst>
            <pc:docMk/>
            <pc:sldMk cId="1334572874" sldId="284"/>
            <ac:spMk id="9" creationId="{EB7A27B3-7EE0-CA20-C1E3-1F936A917302}"/>
          </ac:spMkLst>
        </pc:spChg>
      </pc:sldChg>
      <pc:sldChg chg="modSp add del mod modShow">
        <pc:chgData name="Liam Morden" userId="93761272-e958-47bd-a047-5952229592b0" providerId="ADAL" clId="{1BDE6FCE-89A3-4A75-8540-53475B34D2FF}" dt="2024-11-30T00:17:02.218" v="1748" actId="47"/>
        <pc:sldMkLst>
          <pc:docMk/>
          <pc:sldMk cId="3103454640" sldId="285"/>
        </pc:sldMkLst>
      </pc:sldChg>
      <pc:sldChg chg="addSp delSp modSp add mod">
        <pc:chgData name="Liam Morden" userId="93761272-e958-47bd-a047-5952229592b0" providerId="ADAL" clId="{1BDE6FCE-89A3-4A75-8540-53475B34D2FF}" dt="2024-12-02T20:11:47.670" v="8648" actId="478"/>
        <pc:sldMkLst>
          <pc:docMk/>
          <pc:sldMk cId="1118938913" sldId="286"/>
        </pc:sldMkLst>
        <pc:spChg chg="mod">
          <ac:chgData name="Liam Morden" userId="93761272-e958-47bd-a047-5952229592b0" providerId="ADAL" clId="{1BDE6FCE-89A3-4A75-8540-53475B34D2FF}" dt="2024-11-30T18:20:08.635" v="2007" actId="20577"/>
          <ac:spMkLst>
            <pc:docMk/>
            <pc:sldMk cId="1118938913" sldId="286"/>
            <ac:spMk id="2" creationId="{234AF397-DE02-0CD5-4A88-C79291A40408}"/>
          </ac:spMkLst>
        </pc:spChg>
        <pc:spChg chg="mod">
          <ac:chgData name="Liam Morden" userId="93761272-e958-47bd-a047-5952229592b0" providerId="ADAL" clId="{1BDE6FCE-89A3-4A75-8540-53475B34D2FF}" dt="2024-11-30T18:18:47.773" v="1990" actId="13926"/>
          <ac:spMkLst>
            <pc:docMk/>
            <pc:sldMk cId="1118938913" sldId="286"/>
            <ac:spMk id="3" creationId="{EE7F510A-CD69-0A2C-039B-64F0CB9FEB79}"/>
          </ac:spMkLst>
        </pc:spChg>
        <pc:spChg chg="add del mod">
          <ac:chgData name="Liam Morden" userId="93761272-e958-47bd-a047-5952229592b0" providerId="ADAL" clId="{1BDE6FCE-89A3-4A75-8540-53475B34D2FF}" dt="2024-11-30T18:10:14.716" v="1864" actId="478"/>
          <ac:spMkLst>
            <pc:docMk/>
            <pc:sldMk cId="1118938913" sldId="286"/>
            <ac:spMk id="6" creationId="{8C9B8402-E3B4-FD00-C0D8-44DB81A3196B}"/>
          </ac:spMkLst>
        </pc:spChg>
        <pc:spChg chg="add del mod">
          <ac:chgData name="Liam Morden" userId="93761272-e958-47bd-a047-5952229592b0" providerId="ADAL" clId="{1BDE6FCE-89A3-4A75-8540-53475B34D2FF}" dt="2024-12-02T20:11:47.670" v="8648" actId="478"/>
          <ac:spMkLst>
            <pc:docMk/>
            <pc:sldMk cId="1118938913" sldId="286"/>
            <ac:spMk id="6" creationId="{F8F57CB6-9D44-84CC-8E97-3831DF669AF7}"/>
          </ac:spMkLst>
        </pc:spChg>
        <pc:spChg chg="mod">
          <ac:chgData name="Liam Morden" userId="93761272-e958-47bd-a047-5952229592b0" providerId="ADAL" clId="{1BDE6FCE-89A3-4A75-8540-53475B34D2FF}" dt="2024-12-02T00:41:26.476" v="7310" actId="313"/>
          <ac:spMkLst>
            <pc:docMk/>
            <pc:sldMk cId="1118938913" sldId="286"/>
            <ac:spMk id="8" creationId="{E4555933-5ED7-C1FD-F08C-ED069F13F8D5}"/>
          </ac:spMkLst>
        </pc:spChg>
        <pc:spChg chg="add del mod">
          <ac:chgData name="Liam Morden" userId="93761272-e958-47bd-a047-5952229592b0" providerId="ADAL" clId="{1BDE6FCE-89A3-4A75-8540-53475B34D2FF}" dt="2024-11-29T19:34:17.096" v="1615"/>
          <ac:spMkLst>
            <pc:docMk/>
            <pc:sldMk cId="1118938913" sldId="286"/>
            <ac:spMk id="9" creationId="{0E56000E-009C-2152-D0BE-7E43E1D794DC}"/>
          </ac:spMkLst>
        </pc:spChg>
        <pc:spChg chg="add mod">
          <ac:chgData name="Liam Morden" userId="93761272-e958-47bd-a047-5952229592b0" providerId="ADAL" clId="{1BDE6FCE-89A3-4A75-8540-53475B34D2FF}" dt="2024-11-30T18:17:29.233" v="1949" actId="1076"/>
          <ac:spMkLst>
            <pc:docMk/>
            <pc:sldMk cId="1118938913" sldId="286"/>
            <ac:spMk id="9" creationId="{44E5F0BE-7B85-9CD3-3AFB-DBECA0744A6F}"/>
          </ac:spMkLst>
        </pc:spChg>
        <pc:spChg chg="del mod">
          <ac:chgData name="Liam Morden" userId="93761272-e958-47bd-a047-5952229592b0" providerId="ADAL" clId="{1BDE6FCE-89A3-4A75-8540-53475B34D2FF}" dt="2024-12-02T00:40:09.261" v="7282" actId="478"/>
          <ac:spMkLst>
            <pc:docMk/>
            <pc:sldMk cId="1118938913" sldId="286"/>
            <ac:spMk id="10" creationId="{CE51989F-182D-88FC-1972-D7C651024EC9}"/>
          </ac:spMkLst>
        </pc:spChg>
        <pc:spChg chg="add mod">
          <ac:chgData name="Liam Morden" userId="93761272-e958-47bd-a047-5952229592b0" providerId="ADAL" clId="{1BDE6FCE-89A3-4A75-8540-53475B34D2FF}" dt="2024-11-30T18:17:35.369" v="1950" actId="1076"/>
          <ac:spMkLst>
            <pc:docMk/>
            <pc:sldMk cId="1118938913" sldId="286"/>
            <ac:spMk id="11" creationId="{34B3EA86-F37D-105B-425F-E1AF16837311}"/>
          </ac:spMkLst>
        </pc:spChg>
        <pc:spChg chg="add mod">
          <ac:chgData name="Liam Morden" userId="93761272-e958-47bd-a047-5952229592b0" providerId="ADAL" clId="{1BDE6FCE-89A3-4A75-8540-53475B34D2FF}" dt="2024-11-30T18:17:42.438" v="1952" actId="1076"/>
          <ac:spMkLst>
            <pc:docMk/>
            <pc:sldMk cId="1118938913" sldId="286"/>
            <ac:spMk id="13" creationId="{247AA920-4B90-89E9-1A38-FFDEED18821D}"/>
          </ac:spMkLst>
        </pc:spChg>
        <pc:spChg chg="add del mod">
          <ac:chgData name="Liam Morden" userId="93761272-e958-47bd-a047-5952229592b0" providerId="ADAL" clId="{1BDE6FCE-89A3-4A75-8540-53475B34D2FF}" dt="2024-11-29T19:24:34.694" v="1506" actId="1957"/>
          <ac:spMkLst>
            <pc:docMk/>
            <pc:sldMk cId="1118938913" sldId="286"/>
            <ac:spMk id="13" creationId="{7BC9BD15-442E-839B-F0CF-238D6561E7BC}"/>
          </ac:spMkLst>
        </pc:spChg>
        <pc:spChg chg="add mod">
          <ac:chgData name="Liam Morden" userId="93761272-e958-47bd-a047-5952229592b0" providerId="ADAL" clId="{1BDE6FCE-89A3-4A75-8540-53475B34D2FF}" dt="2024-11-30T18:43:33.592" v="2432" actId="20577"/>
          <ac:spMkLst>
            <pc:docMk/>
            <pc:sldMk cId="1118938913" sldId="286"/>
            <ac:spMk id="14" creationId="{66D81919-205A-AAEC-EAFB-E1F9AA3DBF74}"/>
          </ac:spMkLst>
        </pc:spChg>
        <pc:spChg chg="add mod">
          <ac:chgData name="Liam Morden" userId="93761272-e958-47bd-a047-5952229592b0" providerId="ADAL" clId="{1BDE6FCE-89A3-4A75-8540-53475B34D2FF}" dt="2024-11-30T18:43:46.747" v="2446" actId="20577"/>
          <ac:spMkLst>
            <pc:docMk/>
            <pc:sldMk cId="1118938913" sldId="286"/>
            <ac:spMk id="15" creationId="{DA48D9AE-31B7-B757-6163-F4DADAD82953}"/>
          </ac:spMkLst>
        </pc:spChg>
        <pc:spChg chg="mod">
          <ac:chgData name="Liam Morden" userId="93761272-e958-47bd-a047-5952229592b0" providerId="ADAL" clId="{1BDE6FCE-89A3-4A75-8540-53475B34D2FF}" dt="2024-11-27T19:48:14.947" v="555" actId="20577"/>
          <ac:spMkLst>
            <pc:docMk/>
            <pc:sldMk cId="1118938913" sldId="286"/>
            <ac:spMk id="20" creationId="{34863EC7-6230-F688-3BFC-85164562B621}"/>
          </ac:spMkLst>
        </pc:spChg>
        <pc:spChg chg="add mod">
          <ac:chgData name="Liam Morden" userId="93761272-e958-47bd-a047-5952229592b0" providerId="ADAL" clId="{1BDE6FCE-89A3-4A75-8540-53475B34D2FF}" dt="2024-11-30T18:09:06.457" v="1848" actId="1076"/>
          <ac:spMkLst>
            <pc:docMk/>
            <pc:sldMk cId="1118938913" sldId="286"/>
            <ac:spMk id="21" creationId="{7EB0B573-E55B-11A8-4041-2C63702D29D1}"/>
          </ac:spMkLst>
        </pc:spChg>
        <pc:spChg chg="add mod">
          <ac:chgData name="Liam Morden" userId="93761272-e958-47bd-a047-5952229592b0" providerId="ADAL" clId="{1BDE6FCE-89A3-4A75-8540-53475B34D2FF}" dt="2024-11-30T18:09:10.465" v="1849" actId="1076"/>
          <ac:spMkLst>
            <pc:docMk/>
            <pc:sldMk cId="1118938913" sldId="286"/>
            <ac:spMk id="22" creationId="{5C5283D8-278D-1DC4-4273-84662BC441C2}"/>
          </ac:spMkLst>
        </pc:spChg>
        <pc:spChg chg="add mod">
          <ac:chgData name="Liam Morden" userId="93761272-e958-47bd-a047-5952229592b0" providerId="ADAL" clId="{1BDE6FCE-89A3-4A75-8540-53475B34D2FF}" dt="2024-11-30T18:09:26.791" v="1851" actId="1076"/>
          <ac:spMkLst>
            <pc:docMk/>
            <pc:sldMk cId="1118938913" sldId="286"/>
            <ac:spMk id="26" creationId="{4D71DF0D-C884-F4C8-052F-B6AAA29E4659}"/>
          </ac:spMkLst>
        </pc:spChg>
        <pc:spChg chg="add del mod">
          <ac:chgData name="Liam Morden" userId="93761272-e958-47bd-a047-5952229592b0" providerId="ADAL" clId="{1BDE6FCE-89A3-4A75-8540-53475B34D2FF}" dt="2024-11-29T19:34:32.407" v="1621" actId="478"/>
          <ac:spMkLst>
            <pc:docMk/>
            <pc:sldMk cId="1118938913" sldId="286"/>
            <ac:spMk id="31" creationId="{4D75BA36-94C6-6278-954C-B0F5BB276940}"/>
          </ac:spMkLst>
        </pc:spChg>
        <pc:spChg chg="add del mod">
          <ac:chgData name="Liam Morden" userId="93761272-e958-47bd-a047-5952229592b0" providerId="ADAL" clId="{1BDE6FCE-89A3-4A75-8540-53475B34D2FF}" dt="2024-11-29T19:35:04.568" v="1625"/>
          <ac:spMkLst>
            <pc:docMk/>
            <pc:sldMk cId="1118938913" sldId="286"/>
            <ac:spMk id="33" creationId="{8B0B4B15-7D9C-554B-3080-4BB161C851F4}"/>
          </ac:spMkLst>
        </pc:spChg>
        <pc:graphicFrameChg chg="add mod modGraphic">
          <ac:chgData name="Liam Morden" userId="93761272-e958-47bd-a047-5952229592b0" providerId="ADAL" clId="{1BDE6FCE-89A3-4A75-8540-53475B34D2FF}" dt="2024-12-02T00:42:38.032" v="7319" actId="113"/>
          <ac:graphicFrameMkLst>
            <pc:docMk/>
            <pc:sldMk cId="1118938913" sldId="286"/>
            <ac:graphicFrameMk id="16" creationId="{09EE7345-D722-C1D9-1BE0-52850FA91790}"/>
          </ac:graphicFrameMkLst>
        </pc:graphicFrameChg>
        <pc:graphicFrameChg chg="add mod">
          <ac:chgData name="Liam Morden" userId="93761272-e958-47bd-a047-5952229592b0" providerId="ADAL" clId="{1BDE6FCE-89A3-4A75-8540-53475B34D2FF}" dt="2024-12-02T00:25:43.268" v="7201" actId="207"/>
          <ac:graphicFrameMkLst>
            <pc:docMk/>
            <pc:sldMk cId="1118938913" sldId="286"/>
            <ac:graphicFrameMk id="17" creationId="{C5051289-4559-0BBC-8638-94195085D234}"/>
          </ac:graphicFrameMkLst>
        </pc:graphicFrameChg>
        <pc:graphicFrameChg chg="modGraphic">
          <ac:chgData name="Liam Morden" userId="93761272-e958-47bd-a047-5952229592b0" providerId="ADAL" clId="{1BDE6FCE-89A3-4A75-8540-53475B34D2FF}" dt="2024-11-30T18:18:33.785" v="1979" actId="13926"/>
          <ac:graphicFrameMkLst>
            <pc:docMk/>
            <pc:sldMk cId="1118938913" sldId="286"/>
            <ac:graphicFrameMk id="18" creationId="{A17656E3-0302-3461-02B7-ED725CD461F8}"/>
          </ac:graphicFrameMkLst>
        </pc:graphicFrameChg>
        <pc:graphicFrameChg chg="add del modGraphic">
          <ac:chgData name="Liam Morden" userId="93761272-e958-47bd-a047-5952229592b0" providerId="ADAL" clId="{1BDE6FCE-89A3-4A75-8540-53475B34D2FF}" dt="2024-11-29T19:34:45.545" v="1624" actId="478"/>
          <ac:graphicFrameMkLst>
            <pc:docMk/>
            <pc:sldMk cId="1118938913" sldId="286"/>
            <ac:graphicFrameMk id="29" creationId="{18EFFC8A-1DF1-8BEE-5053-33EA4B8022D1}"/>
          </ac:graphicFrameMkLst>
        </pc:graphicFrameChg>
        <pc:graphicFrameChg chg="add modGraphic">
          <ac:chgData name="Liam Morden" userId="93761272-e958-47bd-a047-5952229592b0" providerId="ADAL" clId="{1BDE6FCE-89A3-4A75-8540-53475B34D2FF}" dt="2024-12-02T00:25:50.285" v="7203" actId="207"/>
          <ac:graphicFrameMkLst>
            <pc:docMk/>
            <pc:sldMk cId="1118938913" sldId="286"/>
            <ac:graphicFrameMk id="36" creationId="{79824EBE-778B-451F-7A41-FB3CFAC35A50}"/>
          </ac:graphicFrameMkLst>
        </pc:graphicFrameChg>
        <pc:cxnChg chg="add mod">
          <ac:chgData name="Liam Morden" userId="93761272-e958-47bd-a047-5952229592b0" providerId="ADAL" clId="{1BDE6FCE-89A3-4A75-8540-53475B34D2FF}" dt="2024-11-30T18:09:18.149" v="1850" actId="1076"/>
          <ac:cxnSpMkLst>
            <pc:docMk/>
            <pc:sldMk cId="1118938913" sldId="286"/>
            <ac:cxnSpMk id="24" creationId="{3496DCCF-FDDE-F389-EBAB-92885C9436A7}"/>
          </ac:cxnSpMkLst>
        </pc:cxnChg>
      </pc:sldChg>
      <pc:sldChg chg="addSp delSp modSp add del mod modShow">
        <pc:chgData name="Liam Morden" userId="93761272-e958-47bd-a047-5952229592b0" providerId="ADAL" clId="{1BDE6FCE-89A3-4A75-8540-53475B34D2FF}" dt="2024-11-30T18:35:58.391" v="2194" actId="47"/>
        <pc:sldMkLst>
          <pc:docMk/>
          <pc:sldMk cId="152131650" sldId="287"/>
        </pc:sldMkLst>
        <pc:spChg chg="add del mod">
          <ac:chgData name="Liam Morden" userId="93761272-e958-47bd-a047-5952229592b0" providerId="ADAL" clId="{1BDE6FCE-89A3-4A75-8540-53475B34D2FF}" dt="2024-11-29T19:29:03.199" v="1543" actId="478"/>
          <ac:spMkLst>
            <pc:docMk/>
            <pc:sldMk cId="152131650" sldId="287"/>
            <ac:spMk id="6" creationId="{9E8BEA78-C86E-BADA-CD99-C74DAB47034C}"/>
          </ac:spMkLst>
        </pc:spChg>
      </pc:sldChg>
      <pc:sldChg chg="addSp delSp modSp mod ord">
        <pc:chgData name="Liam Morden" userId="93761272-e958-47bd-a047-5952229592b0" providerId="ADAL" clId="{1BDE6FCE-89A3-4A75-8540-53475B34D2FF}" dt="2024-12-02T20:11:24.197" v="8634" actId="478"/>
        <pc:sldMkLst>
          <pc:docMk/>
          <pc:sldMk cId="2223519660" sldId="411"/>
        </pc:sldMkLst>
        <pc:spChg chg="mod">
          <ac:chgData name="Liam Morden" userId="93761272-e958-47bd-a047-5952229592b0" providerId="ADAL" clId="{1BDE6FCE-89A3-4A75-8540-53475B34D2FF}" dt="2024-11-29T14:46:59.234" v="1473"/>
          <ac:spMkLst>
            <pc:docMk/>
            <pc:sldMk cId="2223519660" sldId="411"/>
            <ac:spMk id="2" creationId="{DA2E9DA9-60A3-4A99-347B-6A8A27272833}"/>
          </ac:spMkLst>
        </pc:spChg>
        <pc:spChg chg="del mod">
          <ac:chgData name="Liam Morden" userId="93761272-e958-47bd-a047-5952229592b0" providerId="ADAL" clId="{1BDE6FCE-89A3-4A75-8540-53475B34D2FF}" dt="2024-11-29T14:47:01.365" v="1474" actId="478"/>
          <ac:spMkLst>
            <pc:docMk/>
            <pc:sldMk cId="2223519660" sldId="411"/>
            <ac:spMk id="3" creationId="{3CF60375-AD5D-8587-5890-C4EB43AFE485}"/>
          </ac:spMkLst>
        </pc:spChg>
        <pc:spChg chg="add del mod">
          <ac:chgData name="Liam Morden" userId="93761272-e958-47bd-a047-5952229592b0" providerId="ADAL" clId="{1BDE6FCE-89A3-4A75-8540-53475B34D2FF}" dt="2024-12-02T20:11:24.197" v="8634" actId="478"/>
          <ac:spMkLst>
            <pc:docMk/>
            <pc:sldMk cId="2223519660" sldId="411"/>
            <ac:spMk id="3" creationId="{B8A020F3-B73E-CCB4-AEAD-C0F184D7DAEB}"/>
          </ac:spMkLst>
        </pc:spChg>
        <pc:spChg chg="mod">
          <ac:chgData name="Liam Morden" userId="93761272-e958-47bd-a047-5952229592b0" providerId="ADAL" clId="{1BDE6FCE-89A3-4A75-8540-53475B34D2FF}" dt="2024-12-01T06:42:19.721" v="5525" actId="20577"/>
          <ac:spMkLst>
            <pc:docMk/>
            <pc:sldMk cId="2223519660" sldId="411"/>
            <ac:spMk id="15" creationId="{C48A4E1E-E808-D5A5-9D33-88CA8F60389A}"/>
          </ac:spMkLst>
        </pc:spChg>
        <pc:graphicFrameChg chg="add mod">
          <ac:chgData name="Liam Morden" userId="93761272-e958-47bd-a047-5952229592b0" providerId="ADAL" clId="{1BDE6FCE-89A3-4A75-8540-53475B34D2FF}" dt="2024-12-01T21:41:38.292" v="7176" actId="207"/>
          <ac:graphicFrameMkLst>
            <pc:docMk/>
            <pc:sldMk cId="2223519660" sldId="411"/>
            <ac:graphicFrameMk id="4" creationId="{BD964CE3-8288-03AC-048F-3470305213CA}"/>
          </ac:graphicFrameMkLst>
        </pc:graphicFrameChg>
        <pc:graphicFrameChg chg="del">
          <ac:chgData name="Liam Morden" userId="93761272-e958-47bd-a047-5952229592b0" providerId="ADAL" clId="{1BDE6FCE-89A3-4A75-8540-53475B34D2FF}" dt="2024-11-29T14:47:08.504" v="1475" actId="478"/>
          <ac:graphicFrameMkLst>
            <pc:docMk/>
            <pc:sldMk cId="2223519660" sldId="411"/>
            <ac:graphicFrameMk id="5" creationId="{58D5F5CD-6DAB-575D-DC64-35A8F623F616}"/>
          </ac:graphicFrameMkLst>
        </pc:graphicFrameChg>
        <pc:graphicFrameChg chg="mod">
          <ac:chgData name="Liam Morden" userId="93761272-e958-47bd-a047-5952229592b0" providerId="ADAL" clId="{1BDE6FCE-89A3-4A75-8540-53475B34D2FF}" dt="2024-11-29T14:47:28.912" v="1480"/>
          <ac:graphicFrameMkLst>
            <pc:docMk/>
            <pc:sldMk cId="2223519660" sldId="411"/>
            <ac:graphicFrameMk id="9" creationId="{2DEFA061-198A-9964-1C0D-75681BB4E3FE}"/>
          </ac:graphicFrameMkLst>
        </pc:graphicFrameChg>
        <pc:graphicFrameChg chg="modGraphic">
          <ac:chgData name="Liam Morden" userId="93761272-e958-47bd-a047-5952229592b0" providerId="ADAL" clId="{1BDE6FCE-89A3-4A75-8540-53475B34D2FF}" dt="2024-12-01T04:08:16.636" v="3523" actId="13926"/>
          <ac:graphicFrameMkLst>
            <pc:docMk/>
            <pc:sldMk cId="2223519660" sldId="411"/>
            <ac:graphicFrameMk id="10" creationId="{8C62E157-A351-D9E5-C69E-60A8AAC17D29}"/>
          </ac:graphicFrameMkLst>
        </pc:graphicFrameChg>
        <pc:graphicFrameChg chg="modGraphic">
          <ac:chgData name="Liam Morden" userId="93761272-e958-47bd-a047-5952229592b0" providerId="ADAL" clId="{1BDE6FCE-89A3-4A75-8540-53475B34D2FF}" dt="2024-12-01T04:14:50.326" v="3697" actId="13926"/>
          <ac:graphicFrameMkLst>
            <pc:docMk/>
            <pc:sldMk cId="2223519660" sldId="411"/>
            <ac:graphicFrameMk id="12" creationId="{4493664D-1ED4-74D3-1EFD-B45F1B408405}"/>
          </ac:graphicFrameMkLst>
        </pc:graphicFrameChg>
        <pc:graphicFrameChg chg="modGraphic">
          <ac:chgData name="Liam Morden" userId="93761272-e958-47bd-a047-5952229592b0" providerId="ADAL" clId="{1BDE6FCE-89A3-4A75-8540-53475B34D2FF}" dt="2024-12-01T04:09:35.004" v="3564" actId="20577"/>
          <ac:graphicFrameMkLst>
            <pc:docMk/>
            <pc:sldMk cId="2223519660" sldId="411"/>
            <ac:graphicFrameMk id="16" creationId="{A82EBC3B-F382-CF82-4DA1-58249EE21F89}"/>
          </ac:graphicFrameMkLst>
        </pc:graphicFrameChg>
      </pc:sldChg>
      <pc:sldChg chg="addSp delSp modSp add del mod ord modShow">
        <pc:chgData name="Liam Morden" userId="93761272-e958-47bd-a047-5952229592b0" providerId="ADAL" clId="{1BDE6FCE-89A3-4A75-8540-53475B34D2FF}" dt="2024-12-02T00:55:04.510" v="7408" actId="47"/>
        <pc:sldMkLst>
          <pc:docMk/>
          <pc:sldMk cId="1746350796" sldId="412"/>
        </pc:sldMkLst>
        <pc:spChg chg="add mod">
          <ac:chgData name="Liam Morden" userId="93761272-e958-47bd-a047-5952229592b0" providerId="ADAL" clId="{1BDE6FCE-89A3-4A75-8540-53475B34D2FF}" dt="2024-12-01T04:11:40.639" v="3602" actId="207"/>
          <ac:spMkLst>
            <pc:docMk/>
            <pc:sldMk cId="1746350796" sldId="412"/>
            <ac:spMk id="2" creationId="{C84BEF3C-94F3-BB69-04F0-5BF31EC65CFD}"/>
          </ac:spMkLst>
        </pc:spChg>
        <pc:spChg chg="mod">
          <ac:chgData name="Liam Morden" userId="93761272-e958-47bd-a047-5952229592b0" providerId="ADAL" clId="{1BDE6FCE-89A3-4A75-8540-53475B34D2FF}" dt="2024-12-01T06:41:42.290" v="5521" actId="20577"/>
          <ac:spMkLst>
            <pc:docMk/>
            <pc:sldMk cId="1746350796" sldId="412"/>
            <ac:spMk id="6" creationId="{24858146-BE14-A338-487B-08F8A6745863}"/>
          </ac:spMkLst>
        </pc:spChg>
        <pc:spChg chg="mod">
          <ac:chgData name="Liam Morden" userId="93761272-e958-47bd-a047-5952229592b0" providerId="ADAL" clId="{1BDE6FCE-89A3-4A75-8540-53475B34D2FF}" dt="2024-11-30T18:47:25.071" v="2459" actId="20577"/>
          <ac:spMkLst>
            <pc:docMk/>
            <pc:sldMk cId="1746350796" sldId="412"/>
            <ac:spMk id="7" creationId="{87E5E34F-7124-FADE-92A5-254095808C97}"/>
          </ac:spMkLst>
        </pc:spChg>
        <pc:spChg chg="add del mod">
          <ac:chgData name="Liam Morden" userId="93761272-e958-47bd-a047-5952229592b0" providerId="ADAL" clId="{1BDE6FCE-89A3-4A75-8540-53475B34D2FF}" dt="2024-12-01T06:38:57.404" v="5438" actId="478"/>
          <ac:spMkLst>
            <pc:docMk/>
            <pc:sldMk cId="1746350796" sldId="412"/>
            <ac:spMk id="9" creationId="{E1DFF793-945B-C27A-55F2-22887040A34E}"/>
          </ac:spMkLst>
        </pc:spChg>
        <pc:spChg chg="mod">
          <ac:chgData name="Liam Morden" userId="93761272-e958-47bd-a047-5952229592b0" providerId="ADAL" clId="{1BDE6FCE-89A3-4A75-8540-53475B34D2FF}" dt="2024-11-29T18:43:59.856" v="1503" actId="1076"/>
          <ac:spMkLst>
            <pc:docMk/>
            <pc:sldMk cId="1746350796" sldId="412"/>
            <ac:spMk id="15" creationId="{C926E930-7C2B-9E68-3D51-EC931133FA7B}"/>
          </ac:spMkLst>
        </pc:spChg>
        <pc:spChg chg="mod">
          <ac:chgData name="Liam Morden" userId="93761272-e958-47bd-a047-5952229592b0" providerId="ADAL" clId="{1BDE6FCE-89A3-4A75-8540-53475B34D2FF}" dt="2024-11-29T18:43:55.099" v="1502" actId="1076"/>
          <ac:spMkLst>
            <pc:docMk/>
            <pc:sldMk cId="1746350796" sldId="412"/>
            <ac:spMk id="16" creationId="{8EEB3E2A-87C0-4965-5039-6485C908AF3B}"/>
          </ac:spMkLst>
        </pc:spChg>
        <pc:spChg chg="mod">
          <ac:chgData name="Liam Morden" userId="93761272-e958-47bd-a047-5952229592b0" providerId="ADAL" clId="{1BDE6FCE-89A3-4A75-8540-53475B34D2FF}" dt="2024-11-29T18:44:05.049" v="1504" actId="1076"/>
          <ac:spMkLst>
            <pc:docMk/>
            <pc:sldMk cId="1746350796" sldId="412"/>
            <ac:spMk id="17" creationId="{FFFEACF9-FB8A-DED8-02F2-544392B81622}"/>
          </ac:spMkLst>
        </pc:spChg>
        <pc:graphicFrameChg chg="mod modGraphic">
          <ac:chgData name="Liam Morden" userId="93761272-e958-47bd-a047-5952229592b0" providerId="ADAL" clId="{1BDE6FCE-89A3-4A75-8540-53475B34D2FF}" dt="2024-12-01T21:37:18.672" v="7153"/>
          <ac:graphicFrameMkLst>
            <pc:docMk/>
            <pc:sldMk cId="1746350796" sldId="412"/>
            <ac:graphicFrameMk id="14" creationId="{BC467EAD-B1D9-A154-6C54-AFB46CB7C449}"/>
          </ac:graphicFrameMkLst>
        </pc:graphicFrameChg>
        <pc:graphicFrameChg chg="mod">
          <ac:chgData name="Liam Morden" userId="93761272-e958-47bd-a047-5952229592b0" providerId="ADAL" clId="{1BDE6FCE-89A3-4A75-8540-53475B34D2FF}" dt="2024-11-29T18:43:50.444" v="1501" actId="14100"/>
          <ac:graphicFrameMkLst>
            <pc:docMk/>
            <pc:sldMk cId="1746350796" sldId="412"/>
            <ac:graphicFrameMk id="18" creationId="{FF306511-C4AE-EBFB-5245-FCF934F0D810}"/>
          </ac:graphicFrameMkLst>
        </pc:graphicFrameChg>
        <pc:graphicFrameChg chg="del">
          <ac:chgData name="Liam Morden" userId="93761272-e958-47bd-a047-5952229592b0" providerId="ADAL" clId="{1BDE6FCE-89A3-4A75-8540-53475B34D2FF}" dt="2024-12-01T06:38:39.475" v="5436" actId="478"/>
          <ac:graphicFrameMkLst>
            <pc:docMk/>
            <pc:sldMk cId="1746350796" sldId="412"/>
            <ac:graphicFrameMk id="21" creationId="{863AE4AD-1E27-BCF2-60BB-4B0070E1F047}"/>
          </ac:graphicFrameMkLst>
        </pc:graphicFrameChg>
        <pc:graphicFrameChg chg="del">
          <ac:chgData name="Liam Morden" userId="93761272-e958-47bd-a047-5952229592b0" providerId="ADAL" clId="{1BDE6FCE-89A3-4A75-8540-53475B34D2FF}" dt="2024-12-01T06:38:41.117" v="5437" actId="478"/>
          <ac:graphicFrameMkLst>
            <pc:docMk/>
            <pc:sldMk cId="1746350796" sldId="412"/>
            <ac:graphicFrameMk id="29" creationId="{5C2FF24E-E7A6-C897-0337-D8F9B850EC3C}"/>
          </ac:graphicFrameMkLst>
        </pc:graphicFrameChg>
        <pc:graphicFrameChg chg="del">
          <ac:chgData name="Liam Morden" userId="93761272-e958-47bd-a047-5952229592b0" providerId="ADAL" clId="{1BDE6FCE-89A3-4A75-8540-53475B34D2FF}" dt="2024-11-29T18:43:47.058" v="1500" actId="478"/>
          <ac:graphicFrameMkLst>
            <pc:docMk/>
            <pc:sldMk cId="1746350796" sldId="412"/>
            <ac:graphicFrameMk id="33" creationId="{DA7FEE93-9171-2D35-63CC-31DBA20944DD}"/>
          </ac:graphicFrameMkLst>
        </pc:graphicFrameChg>
      </pc:sldChg>
      <pc:sldChg chg="addSp delSp modSp add del mod ord modShow">
        <pc:chgData name="Liam Morden" userId="93761272-e958-47bd-a047-5952229592b0" providerId="ADAL" clId="{1BDE6FCE-89A3-4A75-8540-53475B34D2FF}" dt="2024-12-02T00:38:47.824" v="7264" actId="47"/>
        <pc:sldMkLst>
          <pc:docMk/>
          <pc:sldMk cId="131303031" sldId="413"/>
        </pc:sldMkLst>
        <pc:spChg chg="add del mod">
          <ac:chgData name="Liam Morden" userId="93761272-e958-47bd-a047-5952229592b0" providerId="ADAL" clId="{1BDE6FCE-89A3-4A75-8540-53475B34D2FF}" dt="2024-12-01T21:04:19.327" v="6178" actId="478"/>
          <ac:spMkLst>
            <pc:docMk/>
            <pc:sldMk cId="131303031" sldId="413"/>
            <ac:spMk id="2" creationId="{24ED8732-92D9-2CF6-2D41-102843C3AA63}"/>
          </ac:spMkLst>
        </pc:spChg>
        <pc:spChg chg="del mod">
          <ac:chgData name="Liam Morden" userId="93761272-e958-47bd-a047-5952229592b0" providerId="ADAL" clId="{1BDE6FCE-89A3-4A75-8540-53475B34D2FF}" dt="2024-12-01T06:40:44.207" v="5509" actId="478"/>
          <ac:spMkLst>
            <pc:docMk/>
            <pc:sldMk cId="131303031" sldId="413"/>
            <ac:spMk id="5" creationId="{8D8CD349-2B1E-4C28-D462-B8B9F7EB7845}"/>
          </ac:spMkLst>
        </pc:spChg>
        <pc:spChg chg="del">
          <ac:chgData name="Liam Morden" userId="93761272-e958-47bd-a047-5952229592b0" providerId="ADAL" clId="{1BDE6FCE-89A3-4A75-8540-53475B34D2FF}" dt="2024-12-01T06:40:42.101" v="5507" actId="478"/>
          <ac:spMkLst>
            <pc:docMk/>
            <pc:sldMk cId="131303031" sldId="413"/>
            <ac:spMk id="9" creationId="{CE53D466-FD0C-8B67-130E-7AB9392BA24C}"/>
          </ac:spMkLst>
        </pc:spChg>
        <pc:spChg chg="add mod">
          <ac:chgData name="Liam Morden" userId="93761272-e958-47bd-a047-5952229592b0" providerId="ADAL" clId="{1BDE6FCE-89A3-4A75-8540-53475B34D2FF}" dt="2024-12-01T21:25:45.182" v="7057"/>
          <ac:spMkLst>
            <pc:docMk/>
            <pc:sldMk cId="131303031" sldId="413"/>
            <ac:spMk id="12" creationId="{62AEDACC-3338-9415-9F9B-1DF5220ECFD8}"/>
          </ac:spMkLst>
        </pc:spChg>
        <pc:spChg chg="del mod">
          <ac:chgData name="Liam Morden" userId="93761272-e958-47bd-a047-5952229592b0" providerId="ADAL" clId="{1BDE6FCE-89A3-4A75-8540-53475B34D2FF}" dt="2024-12-01T06:40:54.428" v="5515" actId="478"/>
          <ac:spMkLst>
            <pc:docMk/>
            <pc:sldMk cId="131303031" sldId="413"/>
            <ac:spMk id="35" creationId="{9C2A4360-5F02-E84F-EFCB-17E3EC67C371}"/>
          </ac:spMkLst>
        </pc:spChg>
        <pc:graphicFrameChg chg="add mod">
          <ac:chgData name="Liam Morden" userId="93761272-e958-47bd-a047-5952229592b0" providerId="ADAL" clId="{1BDE6FCE-89A3-4A75-8540-53475B34D2FF}" dt="2024-12-01T21:04:18.267" v="6177"/>
          <ac:graphicFrameMkLst>
            <pc:docMk/>
            <pc:sldMk cId="131303031" sldId="413"/>
            <ac:graphicFrameMk id="5" creationId="{33F39F28-45D4-EE66-28E3-0AE49ED8EC41}"/>
          </ac:graphicFrameMkLst>
        </pc:graphicFrameChg>
        <pc:graphicFrameChg chg="add mod">
          <ac:chgData name="Liam Morden" userId="93761272-e958-47bd-a047-5952229592b0" providerId="ADAL" clId="{1BDE6FCE-89A3-4A75-8540-53475B34D2FF}" dt="2024-12-01T21:04:22.820" v="6179"/>
          <ac:graphicFrameMkLst>
            <pc:docMk/>
            <pc:sldMk cId="131303031" sldId="413"/>
            <ac:graphicFrameMk id="8" creationId="{6922B5D4-307B-8981-C4CC-4D4EE4635770}"/>
          </ac:graphicFrameMkLst>
        </pc:graphicFrameChg>
        <pc:graphicFrameChg chg="del">
          <ac:chgData name="Liam Morden" userId="93761272-e958-47bd-a047-5952229592b0" providerId="ADAL" clId="{1BDE6FCE-89A3-4A75-8540-53475B34D2FF}" dt="2024-12-01T06:40:33.769" v="5504" actId="478"/>
          <ac:graphicFrameMkLst>
            <pc:docMk/>
            <pc:sldMk cId="131303031" sldId="413"/>
            <ac:graphicFrameMk id="11" creationId="{633FA7D6-5333-C9CB-CEB9-FB980F27512A}"/>
          </ac:graphicFrameMkLst>
        </pc:graphicFrameChg>
        <pc:graphicFrameChg chg="del">
          <ac:chgData name="Liam Morden" userId="93761272-e958-47bd-a047-5952229592b0" providerId="ADAL" clId="{1BDE6FCE-89A3-4A75-8540-53475B34D2FF}" dt="2024-12-01T06:40:36.441" v="5505" actId="478"/>
          <ac:graphicFrameMkLst>
            <pc:docMk/>
            <pc:sldMk cId="131303031" sldId="413"/>
            <ac:graphicFrameMk id="16" creationId="{4362F30D-BF05-AE9B-C229-DC270A042EB0}"/>
          </ac:graphicFrameMkLst>
        </pc:graphicFrameChg>
        <pc:cxnChg chg="del">
          <ac:chgData name="Liam Morden" userId="93761272-e958-47bd-a047-5952229592b0" providerId="ADAL" clId="{1BDE6FCE-89A3-4A75-8540-53475B34D2FF}" dt="2024-12-01T06:40:47.897" v="5511" actId="478"/>
          <ac:cxnSpMkLst>
            <pc:docMk/>
            <pc:sldMk cId="131303031" sldId="413"/>
            <ac:cxnSpMk id="8" creationId="{362C5CFD-92A2-C0B5-07B9-E79653D99128}"/>
          </ac:cxnSpMkLst>
        </pc:cxnChg>
        <pc:cxnChg chg="add mod">
          <ac:chgData name="Liam Morden" userId="93761272-e958-47bd-a047-5952229592b0" providerId="ADAL" clId="{1BDE6FCE-89A3-4A75-8540-53475B34D2FF}" dt="2024-12-01T21:25:41.163" v="7056"/>
          <ac:cxnSpMkLst>
            <pc:docMk/>
            <pc:sldMk cId="131303031" sldId="413"/>
            <ac:cxnSpMk id="9" creationId="{ED2CCDB0-AAA5-27A9-51B1-0E39611088EC}"/>
          </ac:cxnSpMkLst>
        </pc:cxnChg>
        <pc:cxnChg chg="add mod">
          <ac:chgData name="Liam Morden" userId="93761272-e958-47bd-a047-5952229592b0" providerId="ADAL" clId="{1BDE6FCE-89A3-4A75-8540-53475B34D2FF}" dt="2024-12-01T21:25:41.163" v="7056"/>
          <ac:cxnSpMkLst>
            <pc:docMk/>
            <pc:sldMk cId="131303031" sldId="413"/>
            <ac:cxnSpMk id="11" creationId="{9665F040-0A8D-F950-B657-87E7BCAD5845}"/>
          </ac:cxnSpMkLst>
        </pc:cxnChg>
        <pc:cxnChg chg="del">
          <ac:chgData name="Liam Morden" userId="93761272-e958-47bd-a047-5952229592b0" providerId="ADAL" clId="{1BDE6FCE-89A3-4A75-8540-53475B34D2FF}" dt="2024-12-01T06:40:40.837" v="5506" actId="478"/>
          <ac:cxnSpMkLst>
            <pc:docMk/>
            <pc:sldMk cId="131303031" sldId="413"/>
            <ac:cxnSpMk id="12" creationId="{8B7DD82C-92FE-06A2-2501-45C036F585B5}"/>
          </ac:cxnSpMkLst>
        </pc:cxnChg>
        <pc:cxnChg chg="add mod">
          <ac:chgData name="Liam Morden" userId="93761272-e958-47bd-a047-5952229592b0" providerId="ADAL" clId="{1BDE6FCE-89A3-4A75-8540-53475B34D2FF}" dt="2024-12-01T21:25:48.510" v="7058"/>
          <ac:cxnSpMkLst>
            <pc:docMk/>
            <pc:sldMk cId="131303031" sldId="413"/>
            <ac:cxnSpMk id="14" creationId="{C769EC1E-266A-E1AB-8FF2-702176ED156D}"/>
          </ac:cxnSpMkLst>
        </pc:cxnChg>
        <pc:cxnChg chg="del">
          <ac:chgData name="Liam Morden" userId="93761272-e958-47bd-a047-5952229592b0" providerId="ADAL" clId="{1BDE6FCE-89A3-4A75-8540-53475B34D2FF}" dt="2024-12-01T06:40:46.405" v="5510" actId="478"/>
          <ac:cxnSpMkLst>
            <pc:docMk/>
            <pc:sldMk cId="131303031" sldId="413"/>
            <ac:cxnSpMk id="14" creationId="{F14DF451-95C3-AAEA-138B-3A7CD47AA5B1}"/>
          </ac:cxnSpMkLst>
        </pc:cxnChg>
        <pc:cxnChg chg="del">
          <ac:chgData name="Liam Morden" userId="93761272-e958-47bd-a047-5952229592b0" providerId="ADAL" clId="{1BDE6FCE-89A3-4A75-8540-53475B34D2FF}" dt="2024-12-01T06:40:49.435" v="5512" actId="478"/>
          <ac:cxnSpMkLst>
            <pc:docMk/>
            <pc:sldMk cId="131303031" sldId="413"/>
            <ac:cxnSpMk id="20" creationId="{AB6414D5-1AA7-2A42-FE7A-6DEEDC18BC6B}"/>
          </ac:cxnSpMkLst>
        </pc:cxnChg>
        <pc:cxnChg chg="del">
          <ac:chgData name="Liam Morden" userId="93761272-e958-47bd-a047-5952229592b0" providerId="ADAL" clId="{1BDE6FCE-89A3-4A75-8540-53475B34D2FF}" dt="2024-12-01T06:40:55.772" v="5516" actId="478"/>
          <ac:cxnSpMkLst>
            <pc:docMk/>
            <pc:sldMk cId="131303031" sldId="413"/>
            <ac:cxnSpMk id="26" creationId="{29D22385-3081-421C-86C6-4D9F95BE206F}"/>
          </ac:cxnSpMkLst>
        </pc:cxnChg>
        <pc:cxnChg chg="del">
          <ac:chgData name="Liam Morden" userId="93761272-e958-47bd-a047-5952229592b0" providerId="ADAL" clId="{1BDE6FCE-89A3-4A75-8540-53475B34D2FF}" dt="2024-12-01T06:40:50.802" v="5513" actId="478"/>
          <ac:cxnSpMkLst>
            <pc:docMk/>
            <pc:sldMk cId="131303031" sldId="413"/>
            <ac:cxnSpMk id="30" creationId="{23E06A2F-2434-02B3-88F5-12663EEF6A16}"/>
          </ac:cxnSpMkLst>
        </pc:cxnChg>
      </pc:sldChg>
      <pc:sldChg chg="add del mod modShow">
        <pc:chgData name="Liam Morden" userId="93761272-e958-47bd-a047-5952229592b0" providerId="ADAL" clId="{1BDE6FCE-89A3-4A75-8540-53475B34D2FF}" dt="2024-12-01T04:11:45.611" v="3605" actId="47"/>
        <pc:sldMkLst>
          <pc:docMk/>
          <pc:sldMk cId="2134180632" sldId="414"/>
        </pc:sldMkLst>
      </pc:sldChg>
      <pc:sldChg chg="modSp del mod modShow">
        <pc:chgData name="Liam Morden" userId="93761272-e958-47bd-a047-5952229592b0" providerId="ADAL" clId="{1BDE6FCE-89A3-4A75-8540-53475B34D2FF}" dt="2024-12-01T05:06:22.065" v="4587" actId="47"/>
        <pc:sldMkLst>
          <pc:docMk/>
          <pc:sldMk cId="3665691461" sldId="416"/>
        </pc:sldMkLst>
        <pc:spChg chg="mod">
          <ac:chgData name="Liam Morden" userId="93761272-e958-47bd-a047-5952229592b0" providerId="ADAL" clId="{1BDE6FCE-89A3-4A75-8540-53475B34D2FF}" dt="2024-11-30T19:58:55.908" v="2814" actId="13926"/>
          <ac:spMkLst>
            <pc:docMk/>
            <pc:sldMk cId="3665691461" sldId="416"/>
            <ac:spMk id="3" creationId="{1EEBA426-F828-2455-A5EB-BB12FEEC4138}"/>
          </ac:spMkLst>
        </pc:spChg>
        <pc:spChg chg="mod">
          <ac:chgData name="Liam Morden" userId="93761272-e958-47bd-a047-5952229592b0" providerId="ADAL" clId="{1BDE6FCE-89A3-4A75-8540-53475B34D2FF}" dt="2024-11-30T19:35:58.115" v="2513" actId="20577"/>
          <ac:spMkLst>
            <pc:docMk/>
            <pc:sldMk cId="3665691461" sldId="416"/>
            <ac:spMk id="17" creationId="{E42B959C-0A5E-46F9-CB50-D503CF9EB13E}"/>
          </ac:spMkLst>
        </pc:spChg>
        <pc:spChg chg="mod">
          <ac:chgData name="Liam Morden" userId="93761272-e958-47bd-a047-5952229592b0" providerId="ADAL" clId="{1BDE6FCE-89A3-4A75-8540-53475B34D2FF}" dt="2024-11-30T19:36:17.958" v="2535" actId="20577"/>
          <ac:spMkLst>
            <pc:docMk/>
            <pc:sldMk cId="3665691461" sldId="416"/>
            <ac:spMk id="19" creationId="{980C443F-47B4-2CCE-C2AD-5005E5D9B56C}"/>
          </ac:spMkLst>
        </pc:spChg>
        <pc:spChg chg="mod">
          <ac:chgData name="Liam Morden" userId="93761272-e958-47bd-a047-5952229592b0" providerId="ADAL" clId="{1BDE6FCE-89A3-4A75-8540-53475B34D2FF}" dt="2024-11-30T19:36:09.402" v="2518" actId="20577"/>
          <ac:spMkLst>
            <pc:docMk/>
            <pc:sldMk cId="3665691461" sldId="416"/>
            <ac:spMk id="21" creationId="{81A15792-46AF-0B72-F567-6F651C3D45DA}"/>
          </ac:spMkLst>
        </pc:spChg>
        <pc:spChg chg="mod">
          <ac:chgData name="Liam Morden" userId="93761272-e958-47bd-a047-5952229592b0" providerId="ADAL" clId="{1BDE6FCE-89A3-4A75-8540-53475B34D2FF}" dt="2024-11-30T19:35:50.824" v="2504" actId="20577"/>
          <ac:spMkLst>
            <pc:docMk/>
            <pc:sldMk cId="3665691461" sldId="416"/>
            <ac:spMk id="23" creationId="{03345ED2-903E-C5FD-46DD-85B1C2BE13B5}"/>
          </ac:spMkLst>
        </pc:spChg>
        <pc:spChg chg="mod">
          <ac:chgData name="Liam Morden" userId="93761272-e958-47bd-a047-5952229592b0" providerId="ADAL" clId="{1BDE6FCE-89A3-4A75-8540-53475B34D2FF}" dt="2024-11-30T19:35:46.848" v="2495" actId="20577"/>
          <ac:spMkLst>
            <pc:docMk/>
            <pc:sldMk cId="3665691461" sldId="416"/>
            <ac:spMk id="25" creationId="{7A807DF1-9C86-F0B7-F69E-1A0306AB7D83}"/>
          </ac:spMkLst>
        </pc:spChg>
      </pc:sldChg>
      <pc:sldChg chg="modSp del mod modShow">
        <pc:chgData name="Liam Morden" userId="93761272-e958-47bd-a047-5952229592b0" providerId="ADAL" clId="{1BDE6FCE-89A3-4A75-8540-53475B34D2FF}" dt="2024-12-01T05:26:08.597" v="4833" actId="47"/>
        <pc:sldMkLst>
          <pc:docMk/>
          <pc:sldMk cId="4175319372" sldId="417"/>
        </pc:sldMkLst>
        <pc:spChg chg="mod">
          <ac:chgData name="Liam Morden" userId="93761272-e958-47bd-a047-5952229592b0" providerId="ADAL" clId="{1BDE6FCE-89A3-4A75-8540-53475B34D2FF}" dt="2024-11-30T19:59:04.917" v="2818" actId="13926"/>
          <ac:spMkLst>
            <pc:docMk/>
            <pc:sldMk cId="4175319372" sldId="417"/>
            <ac:spMk id="3" creationId="{4798D965-D479-3820-4952-DB14DA19077D}"/>
          </ac:spMkLst>
        </pc:spChg>
      </pc:sldChg>
      <pc:sldChg chg="modSp add del mod ord modShow">
        <pc:chgData name="Liam Morden" userId="93761272-e958-47bd-a047-5952229592b0" providerId="ADAL" clId="{1BDE6FCE-89A3-4A75-8540-53475B34D2FF}" dt="2024-12-01T06:01:57.797" v="5403" actId="47"/>
        <pc:sldMkLst>
          <pc:docMk/>
          <pc:sldMk cId="317830801" sldId="418"/>
        </pc:sldMkLst>
        <pc:spChg chg="mod">
          <ac:chgData name="Liam Morden" userId="93761272-e958-47bd-a047-5952229592b0" providerId="ADAL" clId="{1BDE6FCE-89A3-4A75-8540-53475B34D2FF}" dt="2024-11-30T18:22:22.257" v="2014"/>
          <ac:spMkLst>
            <pc:docMk/>
            <pc:sldMk cId="317830801" sldId="418"/>
            <ac:spMk id="4" creationId="{64744735-17E4-5BE7-FBA8-3AF22067D19F}"/>
          </ac:spMkLst>
        </pc:spChg>
        <pc:spChg chg="mod">
          <ac:chgData name="Liam Morden" userId="93761272-e958-47bd-a047-5952229592b0" providerId="ADAL" clId="{1BDE6FCE-89A3-4A75-8540-53475B34D2FF}" dt="2024-11-30T18:22:29.546" v="2053" actId="20577"/>
          <ac:spMkLst>
            <pc:docMk/>
            <pc:sldMk cId="317830801" sldId="418"/>
            <ac:spMk id="10" creationId="{1C4BC2F9-B572-6F69-4DFE-D2A13F32C995}"/>
          </ac:spMkLst>
        </pc:spChg>
      </pc:sldChg>
      <pc:sldChg chg="add del mod modShow">
        <pc:chgData name="Liam Morden" userId="93761272-e958-47bd-a047-5952229592b0" providerId="ADAL" clId="{1BDE6FCE-89A3-4A75-8540-53475B34D2FF}" dt="2024-11-30T18:31:46.816" v="2172" actId="47"/>
        <pc:sldMkLst>
          <pc:docMk/>
          <pc:sldMk cId="1161925475" sldId="419"/>
        </pc:sldMkLst>
      </pc:sldChg>
      <pc:sldChg chg="add del mod modShow">
        <pc:chgData name="Liam Morden" userId="93761272-e958-47bd-a047-5952229592b0" providerId="ADAL" clId="{1BDE6FCE-89A3-4A75-8540-53475B34D2FF}" dt="2024-11-30T18:37:58.315" v="2195" actId="47"/>
        <pc:sldMkLst>
          <pc:docMk/>
          <pc:sldMk cId="2543061027" sldId="420"/>
        </pc:sldMkLst>
      </pc:sldChg>
      <pc:sldChg chg="modSp add del mod modShow">
        <pc:chgData name="Liam Morden" userId="93761272-e958-47bd-a047-5952229592b0" providerId="ADAL" clId="{1BDE6FCE-89A3-4A75-8540-53475B34D2FF}" dt="2024-11-30T18:42:54.696" v="2420" actId="47"/>
        <pc:sldMkLst>
          <pc:docMk/>
          <pc:sldMk cId="4022062105" sldId="421"/>
        </pc:sldMkLst>
        <pc:graphicFrameChg chg="modGraphic">
          <ac:chgData name="Liam Morden" userId="93761272-e958-47bd-a047-5952229592b0" providerId="ADAL" clId="{1BDE6FCE-89A3-4A75-8540-53475B34D2FF}" dt="2024-11-30T18:42:46.766" v="2418" actId="207"/>
          <ac:graphicFrameMkLst>
            <pc:docMk/>
            <pc:sldMk cId="4022062105" sldId="421"/>
            <ac:graphicFrameMk id="27" creationId="{B3DAB20C-76CD-1753-E294-1B9EDE9694AB}"/>
          </ac:graphicFrameMkLst>
        </pc:graphicFrameChg>
      </pc:sldChg>
      <pc:sldChg chg="addSp modSp add del mod modShow">
        <pc:chgData name="Liam Morden" userId="93761272-e958-47bd-a047-5952229592b0" providerId="ADAL" clId="{1BDE6FCE-89A3-4A75-8540-53475B34D2FF}" dt="2024-12-02T00:55:40.689" v="7416" actId="47"/>
        <pc:sldMkLst>
          <pc:docMk/>
          <pc:sldMk cId="506553786" sldId="422"/>
        </pc:sldMkLst>
        <pc:spChg chg="add mod">
          <ac:chgData name="Liam Morden" userId="93761272-e958-47bd-a047-5952229592b0" providerId="ADAL" clId="{1BDE6FCE-89A3-4A75-8540-53475B34D2FF}" dt="2024-12-01T04:11:12.230" v="3592" actId="207"/>
          <ac:spMkLst>
            <pc:docMk/>
            <pc:sldMk cId="506553786" sldId="422"/>
            <ac:spMk id="2" creationId="{0EDAF9BC-ED76-71A8-DE8A-B17C965D9FC1}"/>
          </ac:spMkLst>
        </pc:spChg>
      </pc:sldChg>
      <pc:sldChg chg="addSp delSp modSp add mod ord modShow">
        <pc:chgData name="Liam Morden" userId="93761272-e958-47bd-a047-5952229592b0" providerId="ADAL" clId="{1BDE6FCE-89A3-4A75-8540-53475B34D2FF}" dt="2024-12-02T20:11:50.517" v="8649" actId="478"/>
        <pc:sldMkLst>
          <pc:docMk/>
          <pc:sldMk cId="446537790" sldId="423"/>
        </pc:sldMkLst>
        <pc:spChg chg="add del mod">
          <ac:chgData name="Liam Morden" userId="93761272-e958-47bd-a047-5952229592b0" providerId="ADAL" clId="{1BDE6FCE-89A3-4A75-8540-53475B34D2FF}" dt="2024-12-02T20:11:50.517" v="8649" actId="478"/>
          <ac:spMkLst>
            <pc:docMk/>
            <pc:sldMk cId="446537790" sldId="423"/>
            <ac:spMk id="2" creationId="{1B61A4B2-CF58-05B4-B0F6-FD8056C694D6}"/>
          </ac:spMkLst>
        </pc:spChg>
        <pc:spChg chg="mod">
          <ac:chgData name="Liam Morden" userId="93761272-e958-47bd-a047-5952229592b0" providerId="ADAL" clId="{1BDE6FCE-89A3-4A75-8540-53475B34D2FF}" dt="2024-11-30T18:27:37.066" v="2083" actId="20577"/>
          <ac:spMkLst>
            <pc:docMk/>
            <pc:sldMk cId="446537790" sldId="423"/>
            <ac:spMk id="7" creationId="{21FAC5C6-17AC-5CC2-113B-B1B6664EE2F7}"/>
          </ac:spMkLst>
        </pc:spChg>
        <pc:spChg chg="mod">
          <ac:chgData name="Liam Morden" userId="93761272-e958-47bd-a047-5952229592b0" providerId="ADAL" clId="{1BDE6FCE-89A3-4A75-8540-53475B34D2FF}" dt="2024-11-30T18:29:36.593" v="2153" actId="20577"/>
          <ac:spMkLst>
            <pc:docMk/>
            <pc:sldMk cId="446537790" sldId="423"/>
            <ac:spMk id="8" creationId="{AD84ADB2-5088-9355-E1C9-ACC6D44A7CD5}"/>
          </ac:spMkLst>
        </pc:spChg>
        <pc:spChg chg="mod">
          <ac:chgData name="Liam Morden" userId="93761272-e958-47bd-a047-5952229592b0" providerId="ADAL" clId="{1BDE6FCE-89A3-4A75-8540-53475B34D2FF}" dt="2024-11-30T18:30:41.759" v="2170" actId="20577"/>
          <ac:spMkLst>
            <pc:docMk/>
            <pc:sldMk cId="446537790" sldId="423"/>
            <ac:spMk id="10" creationId="{49B718F1-17DF-6C21-24F5-15BA46487091}"/>
          </ac:spMkLst>
        </pc:spChg>
        <pc:spChg chg="add mod">
          <ac:chgData name="Liam Morden" userId="93761272-e958-47bd-a047-5952229592b0" providerId="ADAL" clId="{1BDE6FCE-89A3-4A75-8540-53475B34D2FF}" dt="2024-11-30T18:30:17.549" v="2161" actId="2085"/>
          <ac:spMkLst>
            <pc:docMk/>
            <pc:sldMk cId="446537790" sldId="423"/>
            <ac:spMk id="11" creationId="{8F643441-A102-D7EC-0DD3-770CB2AC6885}"/>
          </ac:spMkLst>
        </pc:spChg>
        <pc:graphicFrameChg chg="add del mod">
          <ac:chgData name="Liam Morden" userId="93761272-e958-47bd-a047-5952229592b0" providerId="ADAL" clId="{1BDE6FCE-89A3-4A75-8540-53475B34D2FF}" dt="2024-11-30T18:26:17.452" v="2073" actId="478"/>
          <ac:graphicFrameMkLst>
            <pc:docMk/>
            <pc:sldMk cId="446537790" sldId="423"/>
            <ac:graphicFrameMk id="2" creationId="{14374AD2-440F-A509-C724-7F3093319C83}"/>
          </ac:graphicFrameMkLst>
        </pc:graphicFrameChg>
        <pc:graphicFrameChg chg="add del mod modGraphic">
          <ac:chgData name="Liam Morden" userId="93761272-e958-47bd-a047-5952229592b0" providerId="ADAL" clId="{1BDE6FCE-89A3-4A75-8540-53475B34D2FF}" dt="2024-11-30T18:27:04.304" v="2079" actId="478"/>
          <ac:graphicFrameMkLst>
            <pc:docMk/>
            <pc:sldMk cId="446537790" sldId="423"/>
            <ac:graphicFrameMk id="3" creationId="{1A5201F8-5239-642A-FF3A-ACA0BAE0BA3B}"/>
          </ac:graphicFrameMkLst>
        </pc:graphicFrameChg>
        <pc:graphicFrameChg chg="add del mod modGraphic">
          <ac:chgData name="Liam Morden" userId="93761272-e958-47bd-a047-5952229592b0" providerId="ADAL" clId="{1BDE6FCE-89A3-4A75-8540-53475B34D2FF}" dt="2024-11-30T18:28:12.367" v="2091" actId="478"/>
          <ac:graphicFrameMkLst>
            <pc:docMk/>
            <pc:sldMk cId="446537790" sldId="423"/>
            <ac:graphicFrameMk id="4" creationId="{A54D405A-1690-530A-B3E1-728C0ECB8D69}"/>
          </ac:graphicFrameMkLst>
        </pc:graphicFrameChg>
        <pc:graphicFrameChg chg="add mod">
          <ac:chgData name="Liam Morden" userId="93761272-e958-47bd-a047-5952229592b0" providerId="ADAL" clId="{1BDE6FCE-89A3-4A75-8540-53475B34D2FF}" dt="2024-11-30T18:28:14.082" v="2092"/>
          <ac:graphicFrameMkLst>
            <pc:docMk/>
            <pc:sldMk cId="446537790" sldId="423"/>
            <ac:graphicFrameMk id="5" creationId="{89109189-AB83-AFA1-7A6C-D3772C672C4B}"/>
          </ac:graphicFrameMkLst>
        </pc:graphicFrameChg>
        <pc:graphicFrameChg chg="add mod modGraphic">
          <ac:chgData name="Liam Morden" userId="93761272-e958-47bd-a047-5952229592b0" providerId="ADAL" clId="{1BDE6FCE-89A3-4A75-8540-53475B34D2FF}" dt="2024-11-30T18:29:04.132" v="2099" actId="14734"/>
          <ac:graphicFrameMkLst>
            <pc:docMk/>
            <pc:sldMk cId="446537790" sldId="423"/>
            <ac:graphicFrameMk id="6" creationId="{1A6555CA-8308-96F0-EEBC-4D129704C287}"/>
          </ac:graphicFrameMkLst>
        </pc:graphicFrameChg>
        <pc:graphicFrameChg chg="add mod modGraphic">
          <ac:chgData name="Liam Morden" userId="93761272-e958-47bd-a047-5952229592b0" providerId="ADAL" clId="{1BDE6FCE-89A3-4A75-8540-53475B34D2FF}" dt="2024-11-30T18:32:00.022" v="2173" actId="14100"/>
          <ac:graphicFrameMkLst>
            <pc:docMk/>
            <pc:sldMk cId="446537790" sldId="423"/>
            <ac:graphicFrameMk id="9" creationId="{D9581ED3-B3FC-AEAC-66ED-B2DEFB672A9E}"/>
          </ac:graphicFrameMkLst>
        </pc:graphicFrameChg>
        <pc:graphicFrameChg chg="del">
          <ac:chgData name="Liam Morden" userId="93761272-e958-47bd-a047-5952229592b0" providerId="ADAL" clId="{1BDE6FCE-89A3-4A75-8540-53475B34D2FF}" dt="2024-11-30T18:25:50.702" v="2071" actId="478"/>
          <ac:graphicFrameMkLst>
            <pc:docMk/>
            <pc:sldMk cId="446537790" sldId="423"/>
            <ac:graphicFrameMk id="12" creationId="{9D993309-790D-9CC5-AF3E-F47ACFF7A8F4}"/>
          </ac:graphicFrameMkLst>
        </pc:graphicFrameChg>
      </pc:sldChg>
      <pc:sldChg chg="addSp delSp modSp add mod ord modShow">
        <pc:chgData name="Liam Morden" userId="93761272-e958-47bd-a047-5952229592b0" providerId="ADAL" clId="{1BDE6FCE-89A3-4A75-8540-53475B34D2FF}" dt="2024-12-02T20:11:52.346" v="8651" actId="478"/>
        <pc:sldMkLst>
          <pc:docMk/>
          <pc:sldMk cId="3568635743" sldId="424"/>
        </pc:sldMkLst>
        <pc:spChg chg="add mod">
          <ac:chgData name="Liam Morden" userId="93761272-e958-47bd-a047-5952229592b0" providerId="ADAL" clId="{1BDE6FCE-89A3-4A75-8540-53475B34D2FF}" dt="2024-11-30T18:32:29.635" v="2183"/>
          <ac:spMkLst>
            <pc:docMk/>
            <pc:sldMk cId="3568635743" sldId="424"/>
            <ac:spMk id="2" creationId="{8F7361D8-8EFF-9651-ABE6-D5360EBEC09C}"/>
          </ac:spMkLst>
        </pc:spChg>
        <pc:spChg chg="mod">
          <ac:chgData name="Liam Morden" userId="93761272-e958-47bd-a047-5952229592b0" providerId="ADAL" clId="{1BDE6FCE-89A3-4A75-8540-53475B34D2FF}" dt="2024-11-30T18:32:24.785" v="2182" actId="20577"/>
          <ac:spMkLst>
            <pc:docMk/>
            <pc:sldMk cId="3568635743" sldId="424"/>
            <ac:spMk id="4" creationId="{19A1829F-3623-66F3-DC82-3BD8079B3EAA}"/>
          </ac:spMkLst>
        </pc:spChg>
        <pc:spChg chg="add del mod">
          <ac:chgData name="Liam Morden" userId="93761272-e958-47bd-a047-5952229592b0" providerId="ADAL" clId="{1BDE6FCE-89A3-4A75-8540-53475B34D2FF}" dt="2024-12-02T20:11:52.346" v="8651" actId="478"/>
          <ac:spMkLst>
            <pc:docMk/>
            <pc:sldMk cId="3568635743" sldId="424"/>
            <ac:spMk id="5" creationId="{46D3CC5F-5D96-C24E-DF7B-E58524D85EF5}"/>
          </ac:spMkLst>
        </pc:spChg>
        <pc:spChg chg="mod">
          <ac:chgData name="Liam Morden" userId="93761272-e958-47bd-a047-5952229592b0" providerId="ADAL" clId="{1BDE6FCE-89A3-4A75-8540-53475B34D2FF}" dt="2024-11-30T18:32:41.708" v="2185" actId="20577"/>
          <ac:spMkLst>
            <pc:docMk/>
            <pc:sldMk cId="3568635743" sldId="424"/>
            <ac:spMk id="6" creationId="{97EB4D54-93D6-3A3A-AFAA-4C17402EA188}"/>
          </ac:spMkLst>
        </pc:spChg>
        <pc:graphicFrameChg chg="del">
          <ac:chgData name="Liam Morden" userId="93761272-e958-47bd-a047-5952229592b0" providerId="ADAL" clId="{1BDE6FCE-89A3-4A75-8540-53475B34D2FF}" dt="2024-11-30T18:32:44.884" v="2186" actId="478"/>
          <ac:graphicFrameMkLst>
            <pc:docMk/>
            <pc:sldMk cId="3568635743" sldId="424"/>
            <ac:graphicFrameMk id="5" creationId="{004C8E61-C903-644B-2765-52C03D61E254}"/>
          </ac:graphicFrameMkLst>
        </pc:graphicFrameChg>
        <pc:graphicFrameChg chg="add mod modGraphic">
          <ac:chgData name="Liam Morden" userId="93761272-e958-47bd-a047-5952229592b0" providerId="ADAL" clId="{1BDE6FCE-89A3-4A75-8540-53475B34D2FF}" dt="2024-11-30T18:34:31.062" v="2193" actId="14100"/>
          <ac:graphicFrameMkLst>
            <pc:docMk/>
            <pc:sldMk cId="3568635743" sldId="424"/>
            <ac:graphicFrameMk id="7" creationId="{3FB517AD-A18A-AFA0-61A2-21A9CE5A948A}"/>
          </ac:graphicFrameMkLst>
        </pc:graphicFrameChg>
        <pc:graphicFrameChg chg="del">
          <ac:chgData name="Liam Morden" userId="93761272-e958-47bd-a047-5952229592b0" providerId="ADAL" clId="{1BDE6FCE-89A3-4A75-8540-53475B34D2FF}" dt="2024-11-30T18:32:48.137" v="2187" actId="478"/>
          <ac:graphicFrameMkLst>
            <pc:docMk/>
            <pc:sldMk cId="3568635743" sldId="424"/>
            <ac:graphicFrameMk id="18" creationId="{5AC2A3ED-9303-5E8D-8294-E44FD23A0B47}"/>
          </ac:graphicFrameMkLst>
        </pc:graphicFrameChg>
        <pc:graphicFrameChg chg="del">
          <ac:chgData name="Liam Morden" userId="93761272-e958-47bd-a047-5952229592b0" providerId="ADAL" clId="{1BDE6FCE-89A3-4A75-8540-53475B34D2FF}" dt="2024-11-30T18:32:51.312" v="2188" actId="478"/>
          <ac:graphicFrameMkLst>
            <pc:docMk/>
            <pc:sldMk cId="3568635743" sldId="424"/>
            <ac:graphicFrameMk id="19" creationId="{4CDF209E-39C3-3F61-7BAC-483AF29D5DC4}"/>
          </ac:graphicFrameMkLst>
        </pc:graphicFrameChg>
      </pc:sldChg>
      <pc:sldChg chg="addSp delSp modSp add mod ord modShow">
        <pc:chgData name="Liam Morden" userId="93761272-e958-47bd-a047-5952229592b0" providerId="ADAL" clId="{1BDE6FCE-89A3-4A75-8540-53475B34D2FF}" dt="2024-12-02T20:11:53.846" v="8652" actId="478"/>
        <pc:sldMkLst>
          <pc:docMk/>
          <pc:sldMk cId="2736943677" sldId="425"/>
        </pc:sldMkLst>
        <pc:spChg chg="add mod">
          <ac:chgData name="Liam Morden" userId="93761272-e958-47bd-a047-5952229592b0" providerId="ADAL" clId="{1BDE6FCE-89A3-4A75-8540-53475B34D2FF}" dt="2024-11-30T18:38:10.287" v="2199"/>
          <ac:spMkLst>
            <pc:docMk/>
            <pc:sldMk cId="2736943677" sldId="425"/>
            <ac:spMk id="2" creationId="{AD903103-F7FA-CF28-8454-2C8CD5F18B41}"/>
          </ac:spMkLst>
        </pc:spChg>
        <pc:spChg chg="add del mod">
          <ac:chgData name="Liam Morden" userId="93761272-e958-47bd-a047-5952229592b0" providerId="ADAL" clId="{1BDE6FCE-89A3-4A75-8540-53475B34D2FF}" dt="2024-12-02T20:11:53.846" v="8652" actId="478"/>
          <ac:spMkLst>
            <pc:docMk/>
            <pc:sldMk cId="2736943677" sldId="425"/>
            <ac:spMk id="3" creationId="{F8EBBB5E-BF16-69D6-A476-B15EC801A6D4}"/>
          </ac:spMkLst>
        </pc:spChg>
        <pc:spChg chg="mod">
          <ac:chgData name="Liam Morden" userId="93761272-e958-47bd-a047-5952229592b0" providerId="ADAL" clId="{1BDE6FCE-89A3-4A75-8540-53475B34D2FF}" dt="2024-11-30T18:38:35.810" v="2201"/>
          <ac:spMkLst>
            <pc:docMk/>
            <pc:sldMk cId="2736943677" sldId="425"/>
            <ac:spMk id="16" creationId="{A7A3679A-8E98-2FCC-E118-46E0908E68A6}"/>
          </ac:spMkLst>
        </pc:spChg>
        <pc:graphicFrameChg chg="modGraphic">
          <ac:chgData name="Liam Morden" userId="93761272-e958-47bd-a047-5952229592b0" providerId="ADAL" clId="{1BDE6FCE-89A3-4A75-8540-53475B34D2FF}" dt="2024-12-02T00:25:27.376" v="7199" actId="207"/>
          <ac:graphicFrameMkLst>
            <pc:docMk/>
            <pc:sldMk cId="2736943677" sldId="425"/>
            <ac:graphicFrameMk id="20" creationId="{06AA7240-8F07-5155-393C-44CE3570882E}"/>
          </ac:graphicFrameMkLst>
        </pc:graphicFrameChg>
        <pc:graphicFrameChg chg="mod modGraphic">
          <ac:chgData name="Liam Morden" userId="93761272-e958-47bd-a047-5952229592b0" providerId="ADAL" clId="{1BDE6FCE-89A3-4A75-8540-53475B34D2FF}" dt="2024-11-30T18:57:23.751" v="2472"/>
          <ac:graphicFrameMkLst>
            <pc:docMk/>
            <pc:sldMk cId="2736943677" sldId="425"/>
            <ac:graphicFrameMk id="26" creationId="{93A03B1F-A4D5-D753-82A3-6D3577E12DE9}"/>
          </ac:graphicFrameMkLst>
        </pc:graphicFrameChg>
        <pc:graphicFrameChg chg="modGraphic">
          <ac:chgData name="Liam Morden" userId="93761272-e958-47bd-a047-5952229592b0" providerId="ADAL" clId="{1BDE6FCE-89A3-4A75-8540-53475B34D2FF}" dt="2024-12-02T20:02:58.343" v="8500" actId="113"/>
          <ac:graphicFrameMkLst>
            <pc:docMk/>
            <pc:sldMk cId="2736943677" sldId="425"/>
            <ac:graphicFrameMk id="27" creationId="{B97EF53B-B18E-BA94-7A63-17ABE8934BCB}"/>
          </ac:graphicFrameMkLst>
        </pc:graphicFrameChg>
      </pc:sldChg>
      <pc:sldChg chg="addSp delSp modSp add del mod modShow">
        <pc:chgData name="Liam Morden" userId="93761272-e958-47bd-a047-5952229592b0" providerId="ADAL" clId="{1BDE6FCE-89A3-4A75-8540-53475B34D2FF}" dt="2024-11-30T19:41:00.893" v="2633" actId="47"/>
        <pc:sldMkLst>
          <pc:docMk/>
          <pc:sldMk cId="3362215725" sldId="426"/>
        </pc:sldMkLst>
        <pc:spChg chg="mod">
          <ac:chgData name="Liam Morden" userId="93761272-e958-47bd-a047-5952229592b0" providerId="ADAL" clId="{1BDE6FCE-89A3-4A75-8540-53475B34D2FF}" dt="2024-11-30T19:40:25.364" v="2621" actId="13926"/>
          <ac:spMkLst>
            <pc:docMk/>
            <pc:sldMk cId="3362215725" sldId="426"/>
            <ac:spMk id="5" creationId="{96275EA5-14CD-81CB-1881-25BC9E0EDC73}"/>
          </ac:spMkLst>
        </pc:spChg>
        <pc:spChg chg="add del mod">
          <ac:chgData name="Liam Morden" userId="93761272-e958-47bd-a047-5952229592b0" providerId="ADAL" clId="{1BDE6FCE-89A3-4A75-8540-53475B34D2FF}" dt="2024-11-30T19:37:36.015" v="2541" actId="1957"/>
          <ac:spMkLst>
            <pc:docMk/>
            <pc:sldMk cId="3362215725" sldId="426"/>
            <ac:spMk id="9" creationId="{A536EBFA-1433-B2E6-5653-93836D7A6845}"/>
          </ac:spMkLst>
        </pc:spChg>
        <pc:spChg chg="add mod">
          <ac:chgData name="Liam Morden" userId="93761272-e958-47bd-a047-5952229592b0" providerId="ADAL" clId="{1BDE6FCE-89A3-4A75-8540-53475B34D2FF}" dt="2024-11-30T19:40:18.283" v="2609" actId="20577"/>
          <ac:spMkLst>
            <pc:docMk/>
            <pc:sldMk cId="3362215725" sldId="426"/>
            <ac:spMk id="19" creationId="{8673E5F8-6AC2-F273-CB1B-6EE4968510AB}"/>
          </ac:spMkLst>
        </pc:spChg>
        <pc:graphicFrameChg chg="add mod">
          <ac:chgData name="Liam Morden" userId="93761272-e958-47bd-a047-5952229592b0" providerId="ADAL" clId="{1BDE6FCE-89A3-4A75-8540-53475B34D2FF}" dt="2024-11-30T19:39:08.889" v="2561" actId="404"/>
          <ac:graphicFrameMkLst>
            <pc:docMk/>
            <pc:sldMk cId="3362215725" sldId="426"/>
            <ac:graphicFrameMk id="16" creationId="{4D51B146-60F3-B0BC-AB06-F2238E19AA7E}"/>
          </ac:graphicFrameMkLst>
        </pc:graphicFrameChg>
        <pc:picChg chg="del">
          <ac:chgData name="Liam Morden" userId="93761272-e958-47bd-a047-5952229592b0" providerId="ADAL" clId="{1BDE6FCE-89A3-4A75-8540-53475B34D2FF}" dt="2024-11-30T19:39:35.351" v="2562" actId="478"/>
          <ac:picMkLst>
            <pc:docMk/>
            <pc:sldMk cId="3362215725" sldId="426"/>
            <ac:picMk id="14" creationId="{36D7C178-B82C-E9DC-DB2A-532473FAA667}"/>
          </ac:picMkLst>
        </pc:picChg>
        <pc:picChg chg="del">
          <ac:chgData name="Liam Morden" userId="93761272-e958-47bd-a047-5952229592b0" providerId="ADAL" clId="{1BDE6FCE-89A3-4A75-8540-53475B34D2FF}" dt="2024-11-30T19:37:31.496" v="2538" actId="478"/>
          <ac:picMkLst>
            <pc:docMk/>
            <pc:sldMk cId="3362215725" sldId="426"/>
            <ac:picMk id="18" creationId="{028C6F4B-85E9-6C38-F069-CECBFEFEB66B}"/>
          </ac:picMkLst>
        </pc:picChg>
      </pc:sldChg>
      <pc:sldChg chg="add del">
        <pc:chgData name="Liam Morden" userId="93761272-e958-47bd-a047-5952229592b0" providerId="ADAL" clId="{1BDE6FCE-89A3-4A75-8540-53475B34D2FF}" dt="2024-11-30T19:40:29.685" v="2623" actId="47"/>
        <pc:sldMkLst>
          <pc:docMk/>
          <pc:sldMk cId="3042607175" sldId="427"/>
        </pc:sldMkLst>
      </pc:sldChg>
      <pc:sldChg chg="addSp delSp modSp new mod modShow">
        <pc:chgData name="Liam Morden" userId="93761272-e958-47bd-a047-5952229592b0" providerId="ADAL" clId="{1BDE6FCE-89A3-4A75-8540-53475B34D2FF}" dt="2024-12-02T20:11:28.857" v="8637" actId="478"/>
        <pc:sldMkLst>
          <pc:docMk/>
          <pc:sldMk cId="4268655424" sldId="427"/>
        </pc:sldMkLst>
        <pc:spChg chg="mod">
          <ac:chgData name="Liam Morden" userId="93761272-e958-47bd-a047-5952229592b0" providerId="ADAL" clId="{1BDE6FCE-89A3-4A75-8540-53475B34D2FF}" dt="2024-12-01T05:00:14.011" v="4392" actId="13926"/>
          <ac:spMkLst>
            <pc:docMk/>
            <pc:sldMk cId="4268655424" sldId="427"/>
            <ac:spMk id="2" creationId="{CA63B69A-81AE-27A9-8AB5-59642AC47E78}"/>
          </ac:spMkLst>
        </pc:spChg>
        <pc:spChg chg="mod">
          <ac:chgData name="Liam Morden" userId="93761272-e958-47bd-a047-5952229592b0" providerId="ADAL" clId="{1BDE6FCE-89A3-4A75-8540-53475B34D2FF}" dt="2024-12-01T05:04:24.114" v="4572" actId="13926"/>
          <ac:spMkLst>
            <pc:docMk/>
            <pc:sldMk cId="4268655424" sldId="427"/>
            <ac:spMk id="3" creationId="{1C365D33-FFED-D8CD-11DA-7D6004F51066}"/>
          </ac:spMkLst>
        </pc:spChg>
        <pc:spChg chg="mod">
          <ac:chgData name="Liam Morden" userId="93761272-e958-47bd-a047-5952229592b0" providerId="ADAL" clId="{1BDE6FCE-89A3-4A75-8540-53475B34D2FF}" dt="2024-11-30T19:40:43.555" v="2627"/>
          <ac:spMkLst>
            <pc:docMk/>
            <pc:sldMk cId="4268655424" sldId="427"/>
            <ac:spMk id="4" creationId="{84098291-9D0B-3BCE-D16D-DD87A2835626}"/>
          </ac:spMkLst>
        </pc:spChg>
        <pc:spChg chg="mod">
          <ac:chgData name="Liam Morden" userId="93761272-e958-47bd-a047-5952229592b0" providerId="ADAL" clId="{1BDE6FCE-89A3-4A75-8540-53475B34D2FF}" dt="2024-12-01T05:03:33.851" v="4450" actId="20577"/>
          <ac:spMkLst>
            <pc:docMk/>
            <pc:sldMk cId="4268655424" sldId="427"/>
            <ac:spMk id="5" creationId="{C5054830-C1A4-55DC-9FF2-F16EAACBB4A9}"/>
          </ac:spMkLst>
        </pc:spChg>
        <pc:spChg chg="del">
          <ac:chgData name="Liam Morden" userId="93761272-e958-47bd-a047-5952229592b0" providerId="ADAL" clId="{1BDE6FCE-89A3-4A75-8540-53475B34D2FF}" dt="2024-11-30T19:40:59.280" v="2632"/>
          <ac:spMkLst>
            <pc:docMk/>
            <pc:sldMk cId="4268655424" sldId="427"/>
            <ac:spMk id="6" creationId="{293D3701-80DC-31BF-F731-7B1FEC81BAA7}"/>
          </ac:spMkLst>
        </pc:spChg>
        <pc:spChg chg="add del mod">
          <ac:chgData name="Liam Morden" userId="93761272-e958-47bd-a047-5952229592b0" providerId="ADAL" clId="{1BDE6FCE-89A3-4A75-8540-53475B34D2FF}" dt="2024-12-02T20:11:28.857" v="8637" actId="478"/>
          <ac:spMkLst>
            <pc:docMk/>
            <pc:sldMk cId="4268655424" sldId="427"/>
            <ac:spMk id="6" creationId="{FD373ABC-BF09-D778-8586-02B4E4F88960}"/>
          </ac:spMkLst>
        </pc:spChg>
        <pc:spChg chg="mod">
          <ac:chgData name="Liam Morden" userId="93761272-e958-47bd-a047-5952229592b0" providerId="ADAL" clId="{1BDE6FCE-89A3-4A75-8540-53475B34D2FF}" dt="2024-11-30T19:40:39.268" v="2626" actId="20577"/>
          <ac:spMkLst>
            <pc:docMk/>
            <pc:sldMk cId="4268655424" sldId="427"/>
            <ac:spMk id="7" creationId="{94B32E49-48FA-046F-1082-7E02C0650311}"/>
          </ac:spMkLst>
        </pc:spChg>
        <pc:spChg chg="mod">
          <ac:chgData name="Liam Morden" userId="93761272-e958-47bd-a047-5952229592b0" providerId="ADAL" clId="{1BDE6FCE-89A3-4A75-8540-53475B34D2FF}" dt="2024-12-01T04:59:52.619" v="4370" actId="20577"/>
          <ac:spMkLst>
            <pc:docMk/>
            <pc:sldMk cId="4268655424" sldId="427"/>
            <ac:spMk id="8" creationId="{82B7DDE8-075C-534C-4DDC-B62603D86BFE}"/>
          </ac:spMkLst>
        </pc:spChg>
        <pc:spChg chg="mod">
          <ac:chgData name="Liam Morden" userId="93761272-e958-47bd-a047-5952229592b0" providerId="ADAL" clId="{1BDE6FCE-89A3-4A75-8540-53475B34D2FF}" dt="2024-12-01T05:03:40.791" v="4453" actId="113"/>
          <ac:spMkLst>
            <pc:docMk/>
            <pc:sldMk cId="4268655424" sldId="427"/>
            <ac:spMk id="9" creationId="{FFDEFB4F-10E6-734A-11A5-7B571E267CFF}"/>
          </ac:spMkLst>
        </pc:spChg>
        <pc:spChg chg="add mod ord">
          <ac:chgData name="Liam Morden" userId="93761272-e958-47bd-a047-5952229592b0" providerId="ADAL" clId="{1BDE6FCE-89A3-4A75-8540-53475B34D2FF}" dt="2024-12-01T04:55:15.030" v="4157" actId="207"/>
          <ac:spMkLst>
            <pc:docMk/>
            <pc:sldMk cId="4268655424" sldId="427"/>
            <ac:spMk id="10" creationId="{B80E28F2-8EE9-AB74-52B3-BC8C7EC08487}"/>
          </ac:spMkLst>
        </pc:spChg>
        <pc:spChg chg="del">
          <ac:chgData name="Liam Morden" userId="93761272-e958-47bd-a047-5952229592b0" providerId="ADAL" clId="{1BDE6FCE-89A3-4A75-8540-53475B34D2FF}" dt="2024-11-30T19:41:36.299" v="2652" actId="931"/>
          <ac:spMkLst>
            <pc:docMk/>
            <pc:sldMk cId="4268655424" sldId="427"/>
            <ac:spMk id="10" creationId="{C41CD6F5-9015-A733-2F8F-7272978E6546}"/>
          </ac:spMkLst>
        </pc:spChg>
        <pc:spChg chg="add mod">
          <ac:chgData name="Liam Morden" userId="93761272-e958-47bd-a047-5952229592b0" providerId="ADAL" clId="{1BDE6FCE-89A3-4A75-8540-53475B34D2FF}" dt="2024-12-01T05:01:41.867" v="4416" actId="1076"/>
          <ac:spMkLst>
            <pc:docMk/>
            <pc:sldMk cId="4268655424" sldId="427"/>
            <ac:spMk id="17" creationId="{94EC4780-B636-7453-7951-CA186FE1F118}"/>
          </ac:spMkLst>
        </pc:spChg>
        <pc:spChg chg="add mod">
          <ac:chgData name="Liam Morden" userId="93761272-e958-47bd-a047-5952229592b0" providerId="ADAL" clId="{1BDE6FCE-89A3-4A75-8540-53475B34D2FF}" dt="2024-12-01T04:58:57.603" v="4306" actId="1076"/>
          <ac:spMkLst>
            <pc:docMk/>
            <pc:sldMk cId="4268655424" sldId="427"/>
            <ac:spMk id="18" creationId="{4A1C3306-24B9-CB06-C326-3C1DB82E17F9}"/>
          </ac:spMkLst>
        </pc:spChg>
        <pc:spChg chg="add mod">
          <ac:chgData name="Liam Morden" userId="93761272-e958-47bd-a047-5952229592b0" providerId="ADAL" clId="{1BDE6FCE-89A3-4A75-8540-53475B34D2FF}" dt="2024-12-01T05:01:40.304" v="4413" actId="1076"/>
          <ac:spMkLst>
            <pc:docMk/>
            <pc:sldMk cId="4268655424" sldId="427"/>
            <ac:spMk id="19" creationId="{781F9575-5C84-87F3-69C4-E8B7C436C813}"/>
          </ac:spMkLst>
        </pc:spChg>
        <pc:spChg chg="add del mod">
          <ac:chgData name="Liam Morden" userId="93761272-e958-47bd-a047-5952229592b0" providerId="ADAL" clId="{1BDE6FCE-89A3-4A75-8540-53475B34D2FF}" dt="2024-12-01T04:52:55.453" v="4067" actId="478"/>
          <ac:spMkLst>
            <pc:docMk/>
            <pc:sldMk cId="4268655424" sldId="427"/>
            <ac:spMk id="20" creationId="{182401F0-ABCA-F419-3A8B-9EEFD7CDEFF4}"/>
          </ac:spMkLst>
        </pc:spChg>
        <pc:spChg chg="add mod">
          <ac:chgData name="Liam Morden" userId="93761272-e958-47bd-a047-5952229592b0" providerId="ADAL" clId="{1BDE6FCE-89A3-4A75-8540-53475B34D2FF}" dt="2024-12-01T04:53:55.366" v="4097" actId="1076"/>
          <ac:spMkLst>
            <pc:docMk/>
            <pc:sldMk cId="4268655424" sldId="427"/>
            <ac:spMk id="27" creationId="{3D85C00E-C2E5-613A-142D-0F8E2AF4A2DF}"/>
          </ac:spMkLst>
        </pc:spChg>
        <pc:spChg chg="add mod">
          <ac:chgData name="Liam Morden" userId="93761272-e958-47bd-a047-5952229592b0" providerId="ADAL" clId="{1BDE6FCE-89A3-4A75-8540-53475B34D2FF}" dt="2024-12-01T04:57:20.504" v="4232" actId="1076"/>
          <ac:spMkLst>
            <pc:docMk/>
            <pc:sldMk cId="4268655424" sldId="427"/>
            <ac:spMk id="28" creationId="{8BB1FD94-4725-19EB-30B8-D245E2B216F3}"/>
          </ac:spMkLst>
        </pc:spChg>
        <pc:spChg chg="add mod">
          <ac:chgData name="Liam Morden" userId="93761272-e958-47bd-a047-5952229592b0" providerId="ADAL" clId="{1BDE6FCE-89A3-4A75-8540-53475B34D2FF}" dt="2024-12-01T04:57:17.989" v="4231" actId="1076"/>
          <ac:spMkLst>
            <pc:docMk/>
            <pc:sldMk cId="4268655424" sldId="427"/>
            <ac:spMk id="29" creationId="{40440807-9B23-993C-0CCA-984F49D479B8}"/>
          </ac:spMkLst>
        </pc:spChg>
        <pc:spChg chg="add mod">
          <ac:chgData name="Liam Morden" userId="93761272-e958-47bd-a047-5952229592b0" providerId="ADAL" clId="{1BDE6FCE-89A3-4A75-8540-53475B34D2FF}" dt="2024-12-01T04:57:12.363" v="4229" actId="1076"/>
          <ac:spMkLst>
            <pc:docMk/>
            <pc:sldMk cId="4268655424" sldId="427"/>
            <ac:spMk id="30" creationId="{50AFBB44-1EA7-D42E-1478-FD8DFCE346ED}"/>
          </ac:spMkLst>
        </pc:spChg>
        <pc:spChg chg="add mod">
          <ac:chgData name="Liam Morden" userId="93761272-e958-47bd-a047-5952229592b0" providerId="ADAL" clId="{1BDE6FCE-89A3-4A75-8540-53475B34D2FF}" dt="2024-12-01T04:57:07.080" v="4227" actId="1076"/>
          <ac:spMkLst>
            <pc:docMk/>
            <pc:sldMk cId="4268655424" sldId="427"/>
            <ac:spMk id="31" creationId="{0E689BBC-6413-9177-2A95-E6004258401C}"/>
          </ac:spMkLst>
        </pc:spChg>
        <pc:spChg chg="add mod">
          <ac:chgData name="Liam Morden" userId="93761272-e958-47bd-a047-5952229592b0" providerId="ADAL" clId="{1BDE6FCE-89A3-4A75-8540-53475B34D2FF}" dt="2024-12-01T04:56:11.943" v="4187" actId="20577"/>
          <ac:spMkLst>
            <pc:docMk/>
            <pc:sldMk cId="4268655424" sldId="427"/>
            <ac:spMk id="32" creationId="{2D8E779C-1E72-7EA9-2E81-44E93D0CAB92}"/>
          </ac:spMkLst>
        </pc:spChg>
        <pc:spChg chg="add mod">
          <ac:chgData name="Liam Morden" userId="93761272-e958-47bd-a047-5952229592b0" providerId="ADAL" clId="{1BDE6FCE-89A3-4A75-8540-53475B34D2FF}" dt="2024-12-01T04:57:46.557" v="4253" actId="1076"/>
          <ac:spMkLst>
            <pc:docMk/>
            <pc:sldMk cId="4268655424" sldId="427"/>
            <ac:spMk id="33" creationId="{F2191B9D-C5D5-E8E0-34EF-BC1A7C1E2DE7}"/>
          </ac:spMkLst>
        </pc:spChg>
        <pc:spChg chg="add mod">
          <ac:chgData name="Liam Morden" userId="93761272-e958-47bd-a047-5952229592b0" providerId="ADAL" clId="{1BDE6FCE-89A3-4A75-8540-53475B34D2FF}" dt="2024-12-01T05:02:07.407" v="4417" actId="14100"/>
          <ac:spMkLst>
            <pc:docMk/>
            <pc:sldMk cId="4268655424" sldId="427"/>
            <ac:spMk id="34" creationId="{77962406-76F4-2B8F-5990-F235BBADE22C}"/>
          </ac:spMkLst>
        </pc:spChg>
        <pc:spChg chg="add mod">
          <ac:chgData name="Liam Morden" userId="93761272-e958-47bd-a047-5952229592b0" providerId="ADAL" clId="{1BDE6FCE-89A3-4A75-8540-53475B34D2FF}" dt="2024-12-01T04:58:06.858" v="4255" actId="1076"/>
          <ac:spMkLst>
            <pc:docMk/>
            <pc:sldMk cId="4268655424" sldId="427"/>
            <ac:spMk id="35" creationId="{78665051-982B-FF55-1E06-D7C7B8AE77A5}"/>
          </ac:spMkLst>
        </pc:spChg>
        <pc:spChg chg="add mod">
          <ac:chgData name="Liam Morden" userId="93761272-e958-47bd-a047-5952229592b0" providerId="ADAL" clId="{1BDE6FCE-89A3-4A75-8540-53475B34D2FF}" dt="2024-12-01T04:58:20.347" v="4274" actId="20577"/>
          <ac:spMkLst>
            <pc:docMk/>
            <pc:sldMk cId="4268655424" sldId="427"/>
            <ac:spMk id="36" creationId="{E7E5EFBE-3E7E-EF67-033B-EAB5836FE1FF}"/>
          </ac:spMkLst>
        </pc:spChg>
        <pc:spChg chg="add mod">
          <ac:chgData name="Liam Morden" userId="93761272-e958-47bd-a047-5952229592b0" providerId="ADAL" clId="{1BDE6FCE-89A3-4A75-8540-53475B34D2FF}" dt="2024-12-01T04:58:37.803" v="4294" actId="1076"/>
          <ac:spMkLst>
            <pc:docMk/>
            <pc:sldMk cId="4268655424" sldId="427"/>
            <ac:spMk id="37" creationId="{F88239AE-E171-51F6-8F6C-E10EEA0C1CC2}"/>
          </ac:spMkLst>
        </pc:spChg>
        <pc:spChg chg="add mod">
          <ac:chgData name="Liam Morden" userId="93761272-e958-47bd-a047-5952229592b0" providerId="ADAL" clId="{1BDE6FCE-89A3-4A75-8540-53475B34D2FF}" dt="2024-12-01T04:58:48.852" v="4304" actId="1076"/>
          <ac:spMkLst>
            <pc:docMk/>
            <pc:sldMk cId="4268655424" sldId="427"/>
            <ac:spMk id="38" creationId="{C7C9EB2D-48AB-0D73-5FC8-6E2D92497AB7}"/>
          </ac:spMkLst>
        </pc:spChg>
        <pc:spChg chg="add mod">
          <ac:chgData name="Liam Morden" userId="93761272-e958-47bd-a047-5952229592b0" providerId="ADAL" clId="{1BDE6FCE-89A3-4A75-8540-53475B34D2FF}" dt="2024-12-01T04:59:23.443" v="4332" actId="1076"/>
          <ac:spMkLst>
            <pc:docMk/>
            <pc:sldMk cId="4268655424" sldId="427"/>
            <ac:spMk id="39" creationId="{92178258-8725-941A-FED2-AA0DEEFE9706}"/>
          </ac:spMkLst>
        </pc:spChg>
        <pc:spChg chg="add mod">
          <ac:chgData name="Liam Morden" userId="93761272-e958-47bd-a047-5952229592b0" providerId="ADAL" clId="{1BDE6FCE-89A3-4A75-8540-53475B34D2FF}" dt="2024-12-01T04:59:35.071" v="4352" actId="1076"/>
          <ac:spMkLst>
            <pc:docMk/>
            <pc:sldMk cId="4268655424" sldId="427"/>
            <ac:spMk id="40" creationId="{E78BD359-5BD6-500A-CE7D-04FFF27D1F6B}"/>
          </ac:spMkLst>
        </pc:spChg>
        <pc:spChg chg="add del mod">
          <ac:chgData name="Liam Morden" userId="93761272-e958-47bd-a047-5952229592b0" providerId="ADAL" clId="{1BDE6FCE-89A3-4A75-8540-53475B34D2FF}" dt="2024-12-01T04:59:39.869" v="4354" actId="478"/>
          <ac:spMkLst>
            <pc:docMk/>
            <pc:sldMk cId="4268655424" sldId="427"/>
            <ac:spMk id="42" creationId="{F4A807B8-430D-D55D-90D9-AA9826334811}"/>
          </ac:spMkLst>
        </pc:spChg>
        <pc:graphicFrameChg chg="add mod">
          <ac:chgData name="Liam Morden" userId="93761272-e958-47bd-a047-5952229592b0" providerId="ADAL" clId="{1BDE6FCE-89A3-4A75-8540-53475B34D2FF}" dt="2024-12-01T21:40:44.386" v="7168" actId="207"/>
          <ac:graphicFrameMkLst>
            <pc:docMk/>
            <pc:sldMk cId="4268655424" sldId="427"/>
            <ac:graphicFrameMk id="11" creationId="{D9CA7A16-2B0B-D524-3350-54796BE875E4}"/>
          </ac:graphicFrameMkLst>
        </pc:graphicFrameChg>
        <pc:picChg chg="add del mod">
          <ac:chgData name="Liam Morden" userId="93761272-e958-47bd-a047-5952229592b0" providerId="ADAL" clId="{1BDE6FCE-89A3-4A75-8540-53475B34D2FF}" dt="2024-12-01T04:59:37.103" v="4353" actId="478"/>
          <ac:picMkLst>
            <pc:docMk/>
            <pc:sldMk cId="4268655424" sldId="427"/>
            <ac:picMk id="15" creationId="{1F8F439D-3A29-34A8-E67B-A61BE2E8F71F}"/>
          </ac:picMkLst>
        </pc:picChg>
        <pc:cxnChg chg="add mod">
          <ac:chgData name="Liam Morden" userId="93761272-e958-47bd-a047-5952229592b0" providerId="ADAL" clId="{1BDE6FCE-89A3-4A75-8540-53475B34D2FF}" dt="2024-12-01T04:57:43.260" v="4252" actId="1076"/>
          <ac:cxnSpMkLst>
            <pc:docMk/>
            <pc:sldMk cId="4268655424" sldId="427"/>
            <ac:cxnSpMk id="13" creationId="{4FE60E69-9884-292F-0CF8-95F39ABB2231}"/>
          </ac:cxnSpMkLst>
        </pc:cxnChg>
        <pc:cxnChg chg="add mod">
          <ac:chgData name="Liam Morden" userId="93761272-e958-47bd-a047-5952229592b0" providerId="ADAL" clId="{1BDE6FCE-89A3-4A75-8540-53475B34D2FF}" dt="2024-12-01T04:51:00.576" v="3996" actId="1076"/>
          <ac:cxnSpMkLst>
            <pc:docMk/>
            <pc:sldMk cId="4268655424" sldId="427"/>
            <ac:cxnSpMk id="16" creationId="{45953206-1855-DD0A-9A66-E0B718DD85FE}"/>
          </ac:cxnSpMkLst>
        </pc:cxnChg>
        <pc:cxnChg chg="add mod">
          <ac:chgData name="Liam Morden" userId="93761272-e958-47bd-a047-5952229592b0" providerId="ADAL" clId="{1BDE6FCE-89A3-4A75-8540-53475B34D2FF}" dt="2024-12-01T04:53:13.938" v="4072" actId="1076"/>
          <ac:cxnSpMkLst>
            <pc:docMk/>
            <pc:sldMk cId="4268655424" sldId="427"/>
            <ac:cxnSpMk id="21" creationId="{71FE2B66-9AC7-0603-99DD-E44F97338152}"/>
          </ac:cxnSpMkLst>
        </pc:cxnChg>
        <pc:cxnChg chg="add mod">
          <ac:chgData name="Liam Morden" userId="93761272-e958-47bd-a047-5952229592b0" providerId="ADAL" clId="{1BDE6FCE-89A3-4A75-8540-53475B34D2FF}" dt="2024-12-01T04:58:26.614" v="4275" actId="1076"/>
          <ac:cxnSpMkLst>
            <pc:docMk/>
            <pc:sldMk cId="4268655424" sldId="427"/>
            <ac:cxnSpMk id="22" creationId="{CD82085E-8238-D556-E2B7-D2B992E83151}"/>
          </ac:cxnSpMkLst>
        </pc:cxnChg>
        <pc:cxnChg chg="add mod">
          <ac:chgData name="Liam Morden" userId="93761272-e958-47bd-a047-5952229592b0" providerId="ADAL" clId="{1BDE6FCE-89A3-4A75-8540-53475B34D2FF}" dt="2024-12-01T04:53:23.705" v="4075" actId="1076"/>
          <ac:cxnSpMkLst>
            <pc:docMk/>
            <pc:sldMk cId="4268655424" sldId="427"/>
            <ac:cxnSpMk id="23" creationId="{907CD5A1-A95E-FFD7-69C8-AA0BB596E7F8}"/>
          </ac:cxnSpMkLst>
        </pc:cxnChg>
        <pc:cxnChg chg="add mod">
          <ac:chgData name="Liam Morden" userId="93761272-e958-47bd-a047-5952229592b0" providerId="ADAL" clId="{1BDE6FCE-89A3-4A75-8540-53475B34D2FF}" dt="2024-12-01T04:58:12.377" v="4258" actId="1076"/>
          <ac:cxnSpMkLst>
            <pc:docMk/>
            <pc:sldMk cId="4268655424" sldId="427"/>
            <ac:cxnSpMk id="24" creationId="{A6CA01A0-0A61-E191-D016-0096EB70077B}"/>
          </ac:cxnSpMkLst>
        </pc:cxnChg>
        <pc:cxnChg chg="add mod">
          <ac:chgData name="Liam Morden" userId="93761272-e958-47bd-a047-5952229592b0" providerId="ADAL" clId="{1BDE6FCE-89A3-4A75-8540-53475B34D2FF}" dt="2024-12-01T04:57:15.066" v="4230" actId="1076"/>
          <ac:cxnSpMkLst>
            <pc:docMk/>
            <pc:sldMk cId="4268655424" sldId="427"/>
            <ac:cxnSpMk id="25" creationId="{F3335F69-5CF3-8533-FAC2-8AC8ADA4C3D2}"/>
          </ac:cxnSpMkLst>
        </pc:cxnChg>
        <pc:cxnChg chg="add mod">
          <ac:chgData name="Liam Morden" userId="93761272-e958-47bd-a047-5952229592b0" providerId="ADAL" clId="{1BDE6FCE-89A3-4A75-8540-53475B34D2FF}" dt="2024-12-01T04:57:10.112" v="4228" actId="1076"/>
          <ac:cxnSpMkLst>
            <pc:docMk/>
            <pc:sldMk cId="4268655424" sldId="427"/>
            <ac:cxnSpMk id="26" creationId="{203E2451-034A-E8A0-C1D0-001B8396667C}"/>
          </ac:cxnSpMkLst>
        </pc:cxnChg>
      </pc:sldChg>
      <pc:sldChg chg="addSp delSp modSp add del mod modShow modNotesTx">
        <pc:chgData name="Liam Morden" userId="93761272-e958-47bd-a047-5952229592b0" providerId="ADAL" clId="{1BDE6FCE-89A3-4A75-8540-53475B34D2FF}" dt="2024-12-01T04:36:28.087" v="3918" actId="47"/>
        <pc:sldMkLst>
          <pc:docMk/>
          <pc:sldMk cId="1604857023" sldId="428"/>
        </pc:sldMkLst>
        <pc:spChg chg="mod">
          <ac:chgData name="Liam Morden" userId="93761272-e958-47bd-a047-5952229592b0" providerId="ADAL" clId="{1BDE6FCE-89A3-4A75-8540-53475B34D2FF}" dt="2024-11-30T20:17:11.083" v="3086" actId="13926"/>
          <ac:spMkLst>
            <pc:docMk/>
            <pc:sldMk cId="1604857023" sldId="428"/>
            <ac:spMk id="2" creationId="{7B9F5645-66C1-CCA7-DCB8-EDCD82CAC0F3}"/>
          </ac:spMkLst>
        </pc:spChg>
        <pc:spChg chg="mod">
          <ac:chgData name="Liam Morden" userId="93761272-e958-47bd-a047-5952229592b0" providerId="ADAL" clId="{1BDE6FCE-89A3-4A75-8540-53475B34D2FF}" dt="2024-12-01T04:18:57.021" v="3847" actId="20577"/>
          <ac:spMkLst>
            <pc:docMk/>
            <pc:sldMk cId="1604857023" sldId="428"/>
            <ac:spMk id="3" creationId="{3F2EF3D7-93D5-1534-C5E0-5675EB9B4A05}"/>
          </ac:spMkLst>
        </pc:spChg>
        <pc:spChg chg="mod">
          <ac:chgData name="Liam Morden" userId="93761272-e958-47bd-a047-5952229592b0" providerId="ADAL" clId="{1BDE6FCE-89A3-4A75-8540-53475B34D2FF}" dt="2024-11-30T20:03:51.961" v="2880" actId="20577"/>
          <ac:spMkLst>
            <pc:docMk/>
            <pc:sldMk cId="1604857023" sldId="428"/>
            <ac:spMk id="5" creationId="{E528D070-12CC-3B9D-2CCA-37BD871666B4}"/>
          </ac:spMkLst>
        </pc:spChg>
        <pc:spChg chg="mod">
          <ac:chgData name="Liam Morden" userId="93761272-e958-47bd-a047-5952229592b0" providerId="ADAL" clId="{1BDE6FCE-89A3-4A75-8540-53475B34D2FF}" dt="2024-12-01T04:32:02.186" v="3863" actId="404"/>
          <ac:spMkLst>
            <pc:docMk/>
            <pc:sldMk cId="1604857023" sldId="428"/>
            <ac:spMk id="6" creationId="{1F98B58A-5CB7-D76B-155F-02055D921CCC}"/>
          </ac:spMkLst>
        </pc:spChg>
        <pc:spChg chg="mod">
          <ac:chgData name="Liam Morden" userId="93761272-e958-47bd-a047-5952229592b0" providerId="ADAL" clId="{1BDE6FCE-89A3-4A75-8540-53475B34D2FF}" dt="2024-12-01T04:32:04.733" v="3864" actId="404"/>
          <ac:spMkLst>
            <pc:docMk/>
            <pc:sldMk cId="1604857023" sldId="428"/>
            <ac:spMk id="10" creationId="{38F93F4B-7269-DE83-C0EB-0C32C2D02FCB}"/>
          </ac:spMkLst>
        </pc:spChg>
        <pc:spChg chg="mod">
          <ac:chgData name="Liam Morden" userId="93761272-e958-47bd-a047-5952229592b0" providerId="ADAL" clId="{1BDE6FCE-89A3-4A75-8540-53475B34D2FF}" dt="2024-11-30T19:43:50.996" v="2729" actId="13926"/>
          <ac:spMkLst>
            <pc:docMk/>
            <pc:sldMk cId="1604857023" sldId="428"/>
            <ac:spMk id="12" creationId="{FB03113C-3AAF-14BA-1D14-5D30441FB1F3}"/>
          </ac:spMkLst>
        </pc:spChg>
        <pc:spChg chg="del mod">
          <ac:chgData name="Liam Morden" userId="93761272-e958-47bd-a047-5952229592b0" providerId="ADAL" clId="{1BDE6FCE-89A3-4A75-8540-53475B34D2FF}" dt="2024-11-30T19:43:15.824" v="2716"/>
          <ac:spMkLst>
            <pc:docMk/>
            <pc:sldMk cId="1604857023" sldId="428"/>
            <ac:spMk id="15" creationId="{1D44242C-F2C8-D56F-209E-480237921169}"/>
          </ac:spMkLst>
        </pc:spChg>
        <pc:spChg chg="add mod">
          <ac:chgData name="Liam Morden" userId="93761272-e958-47bd-a047-5952229592b0" providerId="ADAL" clId="{1BDE6FCE-89A3-4A75-8540-53475B34D2FF}" dt="2024-12-01T04:10:24.903" v="3572" actId="207"/>
          <ac:spMkLst>
            <pc:docMk/>
            <pc:sldMk cId="1604857023" sldId="428"/>
            <ac:spMk id="15" creationId="{E28F1F1C-F70F-962D-EADC-C2D9DEDC7F30}"/>
          </ac:spMkLst>
        </pc:spChg>
        <pc:spChg chg="add del mod">
          <ac:chgData name="Liam Morden" userId="93761272-e958-47bd-a047-5952229592b0" providerId="ADAL" clId="{1BDE6FCE-89A3-4A75-8540-53475B34D2FF}" dt="2024-11-30T19:45:52.725" v="2734" actId="1957"/>
          <ac:spMkLst>
            <pc:docMk/>
            <pc:sldMk cId="1604857023" sldId="428"/>
            <ac:spMk id="17" creationId="{74012E8D-FB19-2C5B-C8D4-CA1CF65FAEA0}"/>
          </ac:spMkLst>
        </pc:spChg>
        <pc:graphicFrameChg chg="add modGraphic">
          <ac:chgData name="Liam Morden" userId="93761272-e958-47bd-a047-5952229592b0" providerId="ADAL" clId="{1BDE6FCE-89A3-4A75-8540-53475B34D2FF}" dt="2024-11-30T19:43:54.525" v="2730"/>
          <ac:graphicFrameMkLst>
            <pc:docMk/>
            <pc:sldMk cId="1604857023" sldId="428"/>
            <ac:graphicFrameMk id="14" creationId="{F7A9DE10-8DE8-DFD5-888A-C36F66F6145D}"/>
          </ac:graphicFrameMkLst>
        </pc:graphicFrameChg>
        <pc:graphicFrameChg chg="add mod">
          <ac:chgData name="Liam Morden" userId="93761272-e958-47bd-a047-5952229592b0" providerId="ADAL" clId="{1BDE6FCE-89A3-4A75-8540-53475B34D2FF}" dt="2024-11-30T19:48:18.514" v="2776" actId="692"/>
          <ac:graphicFrameMkLst>
            <pc:docMk/>
            <pc:sldMk cId="1604857023" sldId="428"/>
            <ac:graphicFrameMk id="20" creationId="{7A038FC3-6BE1-6A0C-B300-0C61F5448D66}"/>
          </ac:graphicFrameMkLst>
        </pc:graphicFrameChg>
        <pc:picChg chg="del">
          <ac:chgData name="Liam Morden" userId="93761272-e958-47bd-a047-5952229592b0" providerId="ADAL" clId="{1BDE6FCE-89A3-4A75-8540-53475B34D2FF}" dt="2024-11-30T19:45:49.091" v="2732" actId="478"/>
          <ac:picMkLst>
            <pc:docMk/>
            <pc:sldMk cId="1604857023" sldId="428"/>
            <ac:picMk id="9" creationId="{094EC4AB-1757-DFE3-D108-3A6C4A511126}"/>
          </ac:picMkLst>
        </pc:picChg>
        <pc:cxnChg chg="add mod">
          <ac:chgData name="Liam Morden" userId="93761272-e958-47bd-a047-5952229592b0" providerId="ADAL" clId="{1BDE6FCE-89A3-4A75-8540-53475B34D2FF}" dt="2024-11-30T19:51:32.714" v="2787" actId="1582"/>
          <ac:cxnSpMkLst>
            <pc:docMk/>
            <pc:sldMk cId="1604857023" sldId="428"/>
            <ac:cxnSpMk id="11" creationId="{7A80482A-3EF1-5CB4-F271-EBDBEF162C0C}"/>
          </ac:cxnSpMkLst>
        </pc:cxnChg>
      </pc:sldChg>
      <pc:sldChg chg="addSp delSp modSp add mod modShow">
        <pc:chgData name="Liam Morden" userId="93761272-e958-47bd-a047-5952229592b0" providerId="ADAL" clId="{1BDE6FCE-89A3-4A75-8540-53475B34D2FF}" dt="2024-12-02T20:11:32.032" v="8638" actId="478"/>
        <pc:sldMkLst>
          <pc:docMk/>
          <pc:sldMk cId="27501735" sldId="429"/>
        </pc:sldMkLst>
        <pc:spChg chg="mod">
          <ac:chgData name="Liam Morden" userId="93761272-e958-47bd-a047-5952229592b0" providerId="ADAL" clId="{1BDE6FCE-89A3-4A75-8540-53475B34D2FF}" dt="2024-12-01T05:10:21.746" v="4643" actId="20577"/>
          <ac:spMkLst>
            <pc:docMk/>
            <pc:sldMk cId="27501735" sldId="429"/>
            <ac:spMk id="3" creationId="{6A6B2906-BBD6-8A64-39B5-38C77E4C09FD}"/>
          </ac:spMkLst>
        </pc:spChg>
        <pc:spChg chg="mod">
          <ac:chgData name="Liam Morden" userId="93761272-e958-47bd-a047-5952229592b0" providerId="ADAL" clId="{1BDE6FCE-89A3-4A75-8540-53475B34D2FF}" dt="2024-12-01T05:06:16.252" v="4586" actId="1076"/>
          <ac:spMkLst>
            <pc:docMk/>
            <pc:sldMk cId="27501735" sldId="429"/>
            <ac:spMk id="4" creationId="{A13E8576-A6E7-2B57-3153-BF115648D7A1}"/>
          </ac:spMkLst>
        </pc:spChg>
        <pc:spChg chg="mod">
          <ac:chgData name="Liam Morden" userId="93761272-e958-47bd-a047-5952229592b0" providerId="ADAL" clId="{1BDE6FCE-89A3-4A75-8540-53475B34D2FF}" dt="2024-12-01T05:05:51.136" v="4583" actId="20577"/>
          <ac:spMkLst>
            <pc:docMk/>
            <pc:sldMk cId="27501735" sldId="429"/>
            <ac:spMk id="7" creationId="{24FD7180-FB05-1F03-9FC1-8F68358D45FD}"/>
          </ac:spMkLst>
        </pc:spChg>
        <pc:spChg chg="mod">
          <ac:chgData name="Liam Morden" userId="93761272-e958-47bd-a047-5952229592b0" providerId="ADAL" clId="{1BDE6FCE-89A3-4A75-8540-53475B34D2FF}" dt="2024-12-01T05:06:09.421" v="4584" actId="20577"/>
          <ac:spMkLst>
            <pc:docMk/>
            <pc:sldMk cId="27501735" sldId="429"/>
            <ac:spMk id="8" creationId="{081D7B18-BAA4-154D-E69E-0AE071D7E701}"/>
          </ac:spMkLst>
        </pc:spChg>
        <pc:spChg chg="add del mod">
          <ac:chgData name="Liam Morden" userId="93761272-e958-47bd-a047-5952229592b0" providerId="ADAL" clId="{1BDE6FCE-89A3-4A75-8540-53475B34D2FF}" dt="2024-11-30T20:00:20.449" v="2829" actId="1957"/>
          <ac:spMkLst>
            <pc:docMk/>
            <pc:sldMk cId="27501735" sldId="429"/>
            <ac:spMk id="9" creationId="{00C9EF8B-E253-D2A3-6C4C-403B9AB12D9E}"/>
          </ac:spMkLst>
        </pc:spChg>
        <pc:spChg chg="mod">
          <ac:chgData name="Liam Morden" userId="93761272-e958-47bd-a047-5952229592b0" providerId="ADAL" clId="{1BDE6FCE-89A3-4A75-8540-53475B34D2FF}" dt="2024-11-30T20:03:31.845" v="2874" actId="20577"/>
          <ac:spMkLst>
            <pc:docMk/>
            <pc:sldMk cId="27501735" sldId="429"/>
            <ac:spMk id="10" creationId="{3AB0B0EB-13D1-B401-0F96-84C89B5801D3}"/>
          </ac:spMkLst>
        </pc:spChg>
        <pc:spChg chg="add del mod">
          <ac:chgData name="Liam Morden" userId="93761272-e958-47bd-a047-5952229592b0" providerId="ADAL" clId="{1BDE6FCE-89A3-4A75-8540-53475B34D2FF}" dt="2024-12-02T20:11:32.032" v="8638" actId="478"/>
          <ac:spMkLst>
            <pc:docMk/>
            <pc:sldMk cId="27501735" sldId="429"/>
            <ac:spMk id="14" creationId="{981CC505-10B1-3CEC-8CC5-9969FAA1D4B8}"/>
          </ac:spMkLst>
        </pc:spChg>
        <pc:graphicFrameChg chg="add mod">
          <ac:chgData name="Liam Morden" userId="93761272-e958-47bd-a047-5952229592b0" providerId="ADAL" clId="{1BDE6FCE-89A3-4A75-8540-53475B34D2FF}" dt="2024-12-01T21:40:32.207" v="7165" actId="207"/>
          <ac:graphicFrameMkLst>
            <pc:docMk/>
            <pc:sldMk cId="27501735" sldId="429"/>
            <ac:graphicFrameMk id="13" creationId="{FC85C619-345E-F7ED-8CC0-A56C19AF3316}"/>
          </ac:graphicFrameMkLst>
        </pc:graphicFrameChg>
        <pc:picChg chg="del">
          <ac:chgData name="Liam Morden" userId="93761272-e958-47bd-a047-5952229592b0" providerId="ADAL" clId="{1BDE6FCE-89A3-4A75-8540-53475B34D2FF}" dt="2024-11-30T20:00:16.953" v="2827" actId="478"/>
          <ac:picMkLst>
            <pc:docMk/>
            <pc:sldMk cId="27501735" sldId="429"/>
            <ac:picMk id="15" creationId="{9121455A-F061-2AF9-6C06-0EA24E317799}"/>
          </ac:picMkLst>
        </pc:picChg>
      </pc:sldChg>
      <pc:sldChg chg="addSp delSp modSp add mod modShow">
        <pc:chgData name="Liam Morden" userId="93761272-e958-47bd-a047-5952229592b0" providerId="ADAL" clId="{1BDE6FCE-89A3-4A75-8540-53475B34D2FF}" dt="2024-12-02T20:11:33.504" v="8639" actId="478"/>
        <pc:sldMkLst>
          <pc:docMk/>
          <pc:sldMk cId="1869890928" sldId="430"/>
        </pc:sldMkLst>
        <pc:spChg chg="mod">
          <ac:chgData name="Liam Morden" userId="93761272-e958-47bd-a047-5952229592b0" providerId="ADAL" clId="{1BDE6FCE-89A3-4A75-8540-53475B34D2FF}" dt="2024-12-01T05:11:23.857" v="4737" actId="13926"/>
          <ac:spMkLst>
            <pc:docMk/>
            <pc:sldMk cId="1869890928" sldId="430"/>
            <ac:spMk id="3" creationId="{54D7C287-1275-2942-71E4-5FD36DF8B868}"/>
          </ac:spMkLst>
        </pc:spChg>
        <pc:spChg chg="mod">
          <ac:chgData name="Liam Morden" userId="93761272-e958-47bd-a047-5952229592b0" providerId="ADAL" clId="{1BDE6FCE-89A3-4A75-8540-53475B34D2FF}" dt="2024-11-30T20:09:25.982" v="2944" actId="20577"/>
          <ac:spMkLst>
            <pc:docMk/>
            <pc:sldMk cId="1869890928" sldId="430"/>
            <ac:spMk id="8" creationId="{A9FBD496-60E6-5970-5EBD-3A2BAD30B94C}"/>
          </ac:spMkLst>
        </pc:spChg>
        <pc:spChg chg="mod">
          <ac:chgData name="Liam Morden" userId="93761272-e958-47bd-a047-5952229592b0" providerId="ADAL" clId="{1BDE6FCE-89A3-4A75-8540-53475B34D2FF}" dt="2024-11-30T20:15:07.516" v="3034" actId="20577"/>
          <ac:spMkLst>
            <pc:docMk/>
            <pc:sldMk cId="1869890928" sldId="430"/>
            <ac:spMk id="12" creationId="{6B6ABE7A-1298-15B8-D192-CDDB6711C48F}"/>
          </ac:spMkLst>
        </pc:spChg>
        <pc:spChg chg="add del mod">
          <ac:chgData name="Liam Morden" userId="93761272-e958-47bd-a047-5952229592b0" providerId="ADAL" clId="{1BDE6FCE-89A3-4A75-8540-53475B34D2FF}" dt="2024-11-30T20:06:02.045" v="2901" actId="1957"/>
          <ac:spMkLst>
            <pc:docMk/>
            <pc:sldMk cId="1869890928" sldId="430"/>
            <ac:spMk id="14" creationId="{A9D013F7-3C76-5594-D1B6-A09ECB37FBAD}"/>
          </ac:spMkLst>
        </pc:spChg>
        <pc:spChg chg="add del mod">
          <ac:chgData name="Liam Morden" userId="93761272-e958-47bd-a047-5952229592b0" providerId="ADAL" clId="{1BDE6FCE-89A3-4A75-8540-53475B34D2FF}" dt="2024-11-30T20:10:11.109" v="2958" actId="1957"/>
          <ac:spMkLst>
            <pc:docMk/>
            <pc:sldMk cId="1869890928" sldId="430"/>
            <ac:spMk id="19" creationId="{EBA5ED1A-08D5-96D7-A8D8-87EF8BBF1D45}"/>
          </ac:spMkLst>
        </pc:spChg>
        <pc:spChg chg="add del mod">
          <ac:chgData name="Liam Morden" userId="93761272-e958-47bd-a047-5952229592b0" providerId="ADAL" clId="{1BDE6FCE-89A3-4A75-8540-53475B34D2FF}" dt="2024-12-02T20:11:33.504" v="8639" actId="478"/>
          <ac:spMkLst>
            <pc:docMk/>
            <pc:sldMk cId="1869890928" sldId="430"/>
            <ac:spMk id="23" creationId="{A72B85CC-FE89-CCE4-225E-02A1CC45FD12}"/>
          </ac:spMkLst>
        </pc:spChg>
        <pc:graphicFrameChg chg="add mod">
          <ac:chgData name="Liam Morden" userId="93761272-e958-47bd-a047-5952229592b0" providerId="ADAL" clId="{1BDE6FCE-89A3-4A75-8540-53475B34D2FF}" dt="2024-12-01T21:40:11.839" v="7161" actId="207"/>
          <ac:graphicFrameMkLst>
            <pc:docMk/>
            <pc:sldMk cId="1869890928" sldId="430"/>
            <ac:graphicFrameMk id="17" creationId="{ABF0FF7F-0F40-3AC5-CCE2-46592D2391B5}"/>
          </ac:graphicFrameMkLst>
        </pc:graphicFrameChg>
        <pc:graphicFrameChg chg="add mod">
          <ac:chgData name="Liam Morden" userId="93761272-e958-47bd-a047-5952229592b0" providerId="ADAL" clId="{1BDE6FCE-89A3-4A75-8540-53475B34D2FF}" dt="2024-12-01T21:40:16.412" v="7163" actId="207"/>
          <ac:graphicFrameMkLst>
            <pc:docMk/>
            <pc:sldMk cId="1869890928" sldId="430"/>
            <ac:graphicFrameMk id="22" creationId="{02C1F3EE-3449-131E-11B0-2560F09D076C}"/>
          </ac:graphicFrameMkLst>
        </pc:graphicFrameChg>
        <pc:picChg chg="del">
          <ac:chgData name="Liam Morden" userId="93761272-e958-47bd-a047-5952229592b0" providerId="ADAL" clId="{1BDE6FCE-89A3-4A75-8540-53475B34D2FF}" dt="2024-11-30T20:10:01.294" v="2956" actId="478"/>
          <ac:picMkLst>
            <pc:docMk/>
            <pc:sldMk cId="1869890928" sldId="430"/>
            <ac:picMk id="10" creationId="{D971327C-862F-94AD-D47C-77C280C0CBA5}"/>
          </ac:picMkLst>
        </pc:picChg>
        <pc:picChg chg="del">
          <ac:chgData name="Liam Morden" userId="93761272-e958-47bd-a047-5952229592b0" providerId="ADAL" clId="{1BDE6FCE-89A3-4A75-8540-53475B34D2FF}" dt="2024-11-30T20:05:54.596" v="2899" actId="478"/>
          <ac:picMkLst>
            <pc:docMk/>
            <pc:sldMk cId="1869890928" sldId="430"/>
            <ac:picMk id="13" creationId="{77F78508-FF20-A062-A9CB-36E269546E4A}"/>
          </ac:picMkLst>
        </pc:picChg>
      </pc:sldChg>
      <pc:sldChg chg="addSp modSp add del mod modShow">
        <pc:chgData name="Liam Morden" userId="93761272-e958-47bd-a047-5952229592b0" providerId="ADAL" clId="{1BDE6FCE-89A3-4A75-8540-53475B34D2FF}" dt="2024-12-01T06:34:26.691" v="5427" actId="47"/>
        <pc:sldMkLst>
          <pc:docMk/>
          <pc:sldMk cId="2614309281" sldId="431"/>
        </pc:sldMkLst>
        <pc:spChg chg="mod">
          <ac:chgData name="Liam Morden" userId="93761272-e958-47bd-a047-5952229592b0" providerId="ADAL" clId="{1BDE6FCE-89A3-4A75-8540-53475B34D2FF}" dt="2024-12-01T05:09:01.073" v="4591" actId="13926"/>
          <ac:spMkLst>
            <pc:docMk/>
            <pc:sldMk cId="2614309281" sldId="431"/>
            <ac:spMk id="3" creationId="{9CDEEFAF-2411-AED9-36E7-E1522B4BDB25}"/>
          </ac:spMkLst>
        </pc:spChg>
        <pc:spChg chg="mod">
          <ac:chgData name="Liam Morden" userId="93761272-e958-47bd-a047-5952229592b0" providerId="ADAL" clId="{1BDE6FCE-89A3-4A75-8540-53475B34D2FF}" dt="2024-11-30T20:16:00.185" v="3064" actId="13926"/>
          <ac:spMkLst>
            <pc:docMk/>
            <pc:sldMk cId="2614309281" sldId="431"/>
            <ac:spMk id="8" creationId="{EE3BC028-BE9B-8EA3-8698-D7025E31EF64}"/>
          </ac:spMkLst>
        </pc:spChg>
        <pc:spChg chg="mod">
          <ac:chgData name="Liam Morden" userId="93761272-e958-47bd-a047-5952229592b0" providerId="ADAL" clId="{1BDE6FCE-89A3-4A75-8540-53475B34D2FF}" dt="2024-11-30T20:15:33.002" v="3036" actId="13926"/>
          <ac:spMkLst>
            <pc:docMk/>
            <pc:sldMk cId="2614309281" sldId="431"/>
            <ac:spMk id="9" creationId="{AC59286C-931E-28C4-0749-49F26ACCBD6F}"/>
          </ac:spMkLst>
        </pc:spChg>
        <pc:spChg chg="add mod">
          <ac:chgData name="Liam Morden" userId="93761272-e958-47bd-a047-5952229592b0" providerId="ADAL" clId="{1BDE6FCE-89A3-4A75-8540-53475B34D2FF}" dt="2024-12-01T04:10:48.478" v="3580" actId="207"/>
          <ac:spMkLst>
            <pc:docMk/>
            <pc:sldMk cId="2614309281" sldId="431"/>
            <ac:spMk id="10" creationId="{5805A8D9-EF60-C6A4-8CE4-80B196874366}"/>
          </ac:spMkLst>
        </pc:spChg>
        <pc:spChg chg="mod">
          <ac:chgData name="Liam Morden" userId="93761272-e958-47bd-a047-5952229592b0" providerId="ADAL" clId="{1BDE6FCE-89A3-4A75-8540-53475B34D2FF}" dt="2024-12-01T05:46:35.583" v="5149" actId="1076"/>
          <ac:spMkLst>
            <pc:docMk/>
            <pc:sldMk cId="2614309281" sldId="431"/>
            <ac:spMk id="12" creationId="{8AC73F6B-E73C-3981-B3E8-FB8E73FF0C95}"/>
          </ac:spMkLst>
        </pc:spChg>
      </pc:sldChg>
      <pc:sldChg chg="addSp delSp modSp add mod modCm modNotesTx">
        <pc:chgData name="Liam Morden" userId="93761272-e958-47bd-a047-5952229592b0" providerId="ADAL" clId="{1BDE6FCE-89A3-4A75-8540-53475B34D2FF}" dt="2024-12-02T20:11:27.763" v="8636" actId="478"/>
        <pc:sldMkLst>
          <pc:docMk/>
          <pc:sldMk cId="1638840574" sldId="432"/>
        </pc:sldMkLst>
        <pc:spChg chg="mod">
          <ac:chgData name="Liam Morden" userId="93761272-e958-47bd-a047-5952229592b0" providerId="ADAL" clId="{1BDE6FCE-89A3-4A75-8540-53475B34D2FF}" dt="2024-12-02T16:59:44.369" v="8122" actId="13926"/>
          <ac:spMkLst>
            <pc:docMk/>
            <pc:sldMk cId="1638840574" sldId="432"/>
            <ac:spMk id="2" creationId="{E84DB997-A325-6400-9AE3-16770C868940}"/>
          </ac:spMkLst>
        </pc:spChg>
        <pc:spChg chg="mod">
          <ac:chgData name="Liam Morden" userId="93761272-e958-47bd-a047-5952229592b0" providerId="ADAL" clId="{1BDE6FCE-89A3-4A75-8540-53475B34D2FF}" dt="2024-12-02T17:19:23.759" v="8321" actId="20577"/>
          <ac:spMkLst>
            <pc:docMk/>
            <pc:sldMk cId="1638840574" sldId="432"/>
            <ac:spMk id="3" creationId="{F6BA8239-4AB3-F800-ED0B-B25F4C13E620}"/>
          </ac:spMkLst>
        </pc:spChg>
        <pc:spChg chg="mod">
          <ac:chgData name="Liam Morden" userId="93761272-e958-47bd-a047-5952229592b0" providerId="ADAL" clId="{1BDE6FCE-89A3-4A75-8540-53475B34D2FF}" dt="2024-12-02T17:21:22.713" v="8322" actId="114"/>
          <ac:spMkLst>
            <pc:docMk/>
            <pc:sldMk cId="1638840574" sldId="432"/>
            <ac:spMk id="5" creationId="{609EAD13-3E0F-EF32-CFCA-1B796BBAF167}"/>
          </ac:spMkLst>
        </pc:spChg>
        <pc:spChg chg="mod">
          <ac:chgData name="Liam Morden" userId="93761272-e958-47bd-a047-5952229592b0" providerId="ADAL" clId="{1BDE6FCE-89A3-4A75-8540-53475B34D2FF}" dt="2024-12-02T17:31:19.492" v="8479" actId="20577"/>
          <ac:spMkLst>
            <pc:docMk/>
            <pc:sldMk cId="1638840574" sldId="432"/>
            <ac:spMk id="6" creationId="{043CFCED-5654-B475-46DC-2E637BA4F3EA}"/>
          </ac:spMkLst>
        </pc:spChg>
        <pc:spChg chg="mod">
          <ac:chgData name="Liam Morden" userId="93761272-e958-47bd-a047-5952229592b0" providerId="ADAL" clId="{1BDE6FCE-89A3-4A75-8540-53475B34D2FF}" dt="2024-12-02T17:35:53.821" v="8493" actId="20577"/>
          <ac:spMkLst>
            <pc:docMk/>
            <pc:sldMk cId="1638840574" sldId="432"/>
            <ac:spMk id="10" creationId="{0F58E024-7634-078E-C694-BF84CCA6344F}"/>
          </ac:spMkLst>
        </pc:spChg>
        <pc:spChg chg="mod">
          <ac:chgData name="Liam Morden" userId="93761272-e958-47bd-a047-5952229592b0" providerId="ADAL" clId="{1BDE6FCE-89A3-4A75-8540-53475B34D2FF}" dt="2024-12-01T04:35:31.354" v="3908" actId="20577"/>
          <ac:spMkLst>
            <pc:docMk/>
            <pc:sldMk cId="1638840574" sldId="432"/>
            <ac:spMk id="12" creationId="{849197EC-E817-774F-C76A-A4C164AEBF6A}"/>
          </ac:spMkLst>
        </pc:spChg>
        <pc:spChg chg="add del mod">
          <ac:chgData name="Liam Morden" userId="93761272-e958-47bd-a047-5952229592b0" providerId="ADAL" clId="{1BDE6FCE-89A3-4A75-8540-53475B34D2FF}" dt="2024-12-01T04:33:35.210" v="3875"/>
          <ac:spMkLst>
            <pc:docMk/>
            <pc:sldMk cId="1638840574" sldId="432"/>
            <ac:spMk id="13" creationId="{4D30A847-BC5A-5834-9CE2-460E80DF2229}"/>
          </ac:spMkLst>
        </pc:spChg>
        <pc:spChg chg="del mod">
          <ac:chgData name="Liam Morden" userId="93761272-e958-47bd-a047-5952229592b0" providerId="ADAL" clId="{1BDE6FCE-89A3-4A75-8540-53475B34D2FF}" dt="2024-12-02T20:11:27.763" v="8636" actId="478"/>
          <ac:spMkLst>
            <pc:docMk/>
            <pc:sldMk cId="1638840574" sldId="432"/>
            <ac:spMk id="15" creationId="{A957438F-44A1-E267-B147-3C82C9581E93}"/>
          </ac:spMkLst>
        </pc:spChg>
        <pc:spChg chg="add del mod">
          <ac:chgData name="Liam Morden" userId="93761272-e958-47bd-a047-5952229592b0" providerId="ADAL" clId="{1BDE6FCE-89A3-4A75-8540-53475B34D2FF}" dt="2024-12-01T04:45:41.949" v="3953" actId="478"/>
          <ac:spMkLst>
            <pc:docMk/>
            <pc:sldMk cId="1638840574" sldId="432"/>
            <ac:spMk id="19" creationId="{77B0A02E-11C1-0B17-4096-9F3407A107AD}"/>
          </ac:spMkLst>
        </pc:spChg>
        <pc:spChg chg="add del mod">
          <ac:chgData name="Liam Morden" userId="93761272-e958-47bd-a047-5952229592b0" providerId="ADAL" clId="{1BDE6FCE-89A3-4A75-8540-53475B34D2FF}" dt="2024-12-01T04:45:43.575" v="3954" actId="478"/>
          <ac:spMkLst>
            <pc:docMk/>
            <pc:sldMk cId="1638840574" sldId="432"/>
            <ac:spMk id="21" creationId="{5EDE991C-AD24-E488-C721-6F2F6404D400}"/>
          </ac:spMkLst>
        </pc:spChg>
        <pc:spChg chg="add mod">
          <ac:chgData name="Liam Morden" userId="93761272-e958-47bd-a047-5952229592b0" providerId="ADAL" clId="{1BDE6FCE-89A3-4A75-8540-53475B34D2FF}" dt="2024-12-01T04:47:38.755" v="3967" actId="14100"/>
          <ac:spMkLst>
            <pc:docMk/>
            <pc:sldMk cId="1638840574" sldId="432"/>
            <ac:spMk id="22" creationId="{740D056F-2F1F-A026-6DDD-494663539C33}"/>
          </ac:spMkLst>
        </pc:spChg>
        <pc:graphicFrameChg chg="del modGraphic">
          <ac:chgData name="Liam Morden" userId="93761272-e958-47bd-a047-5952229592b0" providerId="ADAL" clId="{1BDE6FCE-89A3-4A75-8540-53475B34D2FF}" dt="2024-12-01T04:33:30.816" v="3874" actId="478"/>
          <ac:graphicFrameMkLst>
            <pc:docMk/>
            <pc:sldMk cId="1638840574" sldId="432"/>
            <ac:graphicFrameMk id="14" creationId="{B806CF9C-9692-A582-511C-CFA60DD82C47}"/>
          </ac:graphicFrameMkLst>
        </pc:graphicFrameChg>
        <pc:graphicFrameChg chg="add modGraphic">
          <ac:chgData name="Liam Morden" userId="93761272-e958-47bd-a047-5952229592b0" providerId="ADAL" clId="{1BDE6FCE-89A3-4A75-8540-53475B34D2FF}" dt="2024-12-01T21:43:52.232" v="7194" actId="207"/>
          <ac:graphicFrameMkLst>
            <pc:docMk/>
            <pc:sldMk cId="1638840574" sldId="432"/>
            <ac:graphicFrameMk id="18" creationId="{C97980A5-5350-F8D6-772B-54235E48EE33}"/>
          </ac:graphicFrameMkLst>
        </pc:graphicFrameChg>
        <pc:graphicFrameChg chg="mod">
          <ac:chgData name="Liam Morden" userId="93761272-e958-47bd-a047-5952229592b0" providerId="ADAL" clId="{1BDE6FCE-89A3-4A75-8540-53475B34D2FF}" dt="2024-12-01T21:41:13.871" v="7171" actId="207"/>
          <ac:graphicFrameMkLst>
            <pc:docMk/>
            <pc:sldMk cId="1638840574" sldId="432"/>
            <ac:graphicFrameMk id="20" creationId="{08A0144E-9A8B-9401-1019-4F6F79DE1712}"/>
          </ac:graphicFrameMkLst>
        </pc:graphicFrameChg>
        <pc:extLst>
          <p:ext xmlns:p="http://schemas.openxmlformats.org/presentationml/2006/main" uri="{D6D511B9-2390-475A-947B-AFAB55BFBCF1}">
            <pc226:cmChg xmlns:pc226="http://schemas.microsoft.com/office/powerpoint/2022/06/main/command" chg="mod">
              <pc226:chgData name="Liam Morden" userId="93761272-e958-47bd-a047-5952229592b0" providerId="ADAL" clId="{1BDE6FCE-89A3-4A75-8540-53475B34D2FF}" dt="2024-12-02T17:35:53.821" v="8493" actId="20577"/>
              <pc2:cmMkLst xmlns:pc2="http://schemas.microsoft.com/office/powerpoint/2019/9/main/command">
                <pc:docMk/>
                <pc:sldMk cId="1638840574" sldId="432"/>
                <pc2:cmMk id="{E4B61505-5A42-40E9-B6A8-8C7014D5830D}"/>
              </pc2:cmMkLst>
            </pc226:cmChg>
            <pc226:cmChg xmlns:pc226="http://schemas.microsoft.com/office/powerpoint/2022/06/main/command" chg="mod">
              <pc226:chgData name="Liam Morden" userId="93761272-e958-47bd-a047-5952229592b0" providerId="ADAL" clId="{1BDE6FCE-89A3-4A75-8540-53475B34D2FF}" dt="2024-12-02T17:35:53.821" v="8493" actId="20577"/>
              <pc2:cmMkLst xmlns:pc2="http://schemas.microsoft.com/office/powerpoint/2019/9/main/command">
                <pc:docMk/>
                <pc:sldMk cId="1638840574" sldId="432"/>
                <pc2:cmMk id="{D9590073-A76F-4687-A691-7D72AE9722E1}"/>
              </pc2:cmMkLst>
            </pc226:cmChg>
            <pc226:cmChg xmlns:pc226="http://schemas.microsoft.com/office/powerpoint/2022/06/main/command" chg="mod">
              <pc226:chgData name="Liam Morden" userId="93761272-e958-47bd-a047-5952229592b0" providerId="ADAL" clId="{1BDE6FCE-89A3-4A75-8540-53475B34D2FF}" dt="2024-12-02T17:35:53.821" v="8493" actId="20577"/>
              <pc2:cmMkLst xmlns:pc2="http://schemas.microsoft.com/office/powerpoint/2019/9/main/command">
                <pc:docMk/>
                <pc:sldMk cId="1638840574" sldId="432"/>
                <pc2:cmMk id="{DAA6FCC5-B2BE-425B-B1A2-B537E3506F54}"/>
              </pc2:cmMkLst>
            </pc226:cmChg>
          </p:ext>
        </pc:extLst>
      </pc:sldChg>
      <pc:sldChg chg="addSp delSp modSp add mod modShow">
        <pc:chgData name="Liam Morden" userId="93761272-e958-47bd-a047-5952229592b0" providerId="ADAL" clId="{1BDE6FCE-89A3-4A75-8540-53475B34D2FF}" dt="2024-12-02T20:11:38.368" v="8643" actId="478"/>
        <pc:sldMkLst>
          <pc:docMk/>
          <pc:sldMk cId="1839031691" sldId="433"/>
        </pc:sldMkLst>
        <pc:spChg chg="mod">
          <ac:chgData name="Liam Morden" userId="93761272-e958-47bd-a047-5952229592b0" providerId="ADAL" clId="{1BDE6FCE-89A3-4A75-8540-53475B34D2FF}" dt="2024-12-01T05:51:43.357" v="5284"/>
          <ac:spMkLst>
            <pc:docMk/>
            <pc:sldMk cId="1839031691" sldId="433"/>
            <ac:spMk id="2" creationId="{72A845E3-75FA-9A5E-F464-866CEF6B0E70}"/>
          </ac:spMkLst>
        </pc:spChg>
        <pc:spChg chg="mod">
          <ac:chgData name="Liam Morden" userId="93761272-e958-47bd-a047-5952229592b0" providerId="ADAL" clId="{1BDE6FCE-89A3-4A75-8540-53475B34D2FF}" dt="2024-12-01T06:00:37.824" v="5396" actId="13926"/>
          <ac:spMkLst>
            <pc:docMk/>
            <pc:sldMk cId="1839031691" sldId="433"/>
            <ac:spMk id="3" creationId="{7C68589A-AD68-405F-B7B0-D2D17C344FE7}"/>
          </ac:spMkLst>
        </pc:spChg>
        <pc:spChg chg="add del mod">
          <ac:chgData name="Liam Morden" userId="93761272-e958-47bd-a047-5952229592b0" providerId="ADAL" clId="{1BDE6FCE-89A3-4A75-8540-53475B34D2FF}" dt="2024-12-02T00:36:20.233" v="7263" actId="478"/>
          <ac:spMkLst>
            <pc:docMk/>
            <pc:sldMk cId="1839031691" sldId="433"/>
            <ac:spMk id="5" creationId="{700F8230-AFE4-405B-F47B-556059B8F5B2}"/>
          </ac:spMkLst>
        </pc:spChg>
        <pc:spChg chg="mod">
          <ac:chgData name="Liam Morden" userId="93761272-e958-47bd-a047-5952229592b0" providerId="ADAL" clId="{1BDE6FCE-89A3-4A75-8540-53475B34D2FF}" dt="2024-12-01T06:00:11.689" v="5373" actId="20577"/>
          <ac:spMkLst>
            <pc:docMk/>
            <pc:sldMk cId="1839031691" sldId="433"/>
            <ac:spMk id="7" creationId="{5723E8D1-CE12-FD34-ED45-83A3793793E1}"/>
          </ac:spMkLst>
        </pc:spChg>
        <pc:spChg chg="add del mod">
          <ac:chgData name="Liam Morden" userId="93761272-e958-47bd-a047-5952229592b0" providerId="ADAL" clId="{1BDE6FCE-89A3-4A75-8540-53475B34D2FF}" dt="2024-12-02T20:11:38.368" v="8643" actId="478"/>
          <ac:spMkLst>
            <pc:docMk/>
            <pc:sldMk cId="1839031691" sldId="433"/>
            <ac:spMk id="8" creationId="{D5920D8A-1D57-FC6B-3999-9A48B6BAC17A}"/>
          </ac:spMkLst>
        </pc:spChg>
        <pc:spChg chg="add mod">
          <ac:chgData name="Liam Morden" userId="93761272-e958-47bd-a047-5952229592b0" providerId="ADAL" clId="{1BDE6FCE-89A3-4A75-8540-53475B34D2FF}" dt="2024-12-01T05:59:42.790" v="5364" actId="688"/>
          <ac:spMkLst>
            <pc:docMk/>
            <pc:sldMk cId="1839031691" sldId="433"/>
            <ac:spMk id="16" creationId="{B596C415-5B78-88F1-9010-E92CDCB78DD5}"/>
          </ac:spMkLst>
        </pc:spChg>
        <pc:graphicFrameChg chg="del">
          <ac:chgData name="Liam Morden" userId="93761272-e958-47bd-a047-5952229592b0" providerId="ADAL" clId="{1BDE6FCE-89A3-4A75-8540-53475B34D2FF}" dt="2024-12-01T05:50:16.547" v="5225" actId="478"/>
          <ac:graphicFrameMkLst>
            <pc:docMk/>
            <pc:sldMk cId="1839031691" sldId="433"/>
            <ac:graphicFrameMk id="5" creationId="{B7F835AF-8ED2-708D-322D-B6744CF7EAC8}"/>
          </ac:graphicFrameMkLst>
        </pc:graphicFrameChg>
        <pc:graphicFrameChg chg="mod modGraphic">
          <ac:chgData name="Liam Morden" userId="93761272-e958-47bd-a047-5952229592b0" providerId="ADAL" clId="{1BDE6FCE-89A3-4A75-8540-53475B34D2FF}" dt="2024-12-01T05:51:24.936" v="5271"/>
          <ac:graphicFrameMkLst>
            <pc:docMk/>
            <pc:sldMk cId="1839031691" sldId="433"/>
            <ac:graphicFrameMk id="11" creationId="{AED88B42-A6E6-3A2A-A008-7FFD8AD27DEA}"/>
          </ac:graphicFrameMkLst>
        </pc:graphicFrameChg>
        <pc:graphicFrameChg chg="add mod">
          <ac:chgData name="Liam Morden" userId="93761272-e958-47bd-a047-5952229592b0" providerId="ADAL" clId="{1BDE6FCE-89A3-4A75-8540-53475B34D2FF}" dt="2024-12-02T00:33:31.081" v="7257"/>
          <ac:graphicFrameMkLst>
            <pc:docMk/>
            <pc:sldMk cId="1839031691" sldId="433"/>
            <ac:graphicFrameMk id="12" creationId="{7D9C1508-F5FC-AE76-940B-B984C67F82AA}"/>
          </ac:graphicFrameMkLst>
        </pc:graphicFrameChg>
        <pc:graphicFrameChg chg="add del mod">
          <ac:chgData name="Liam Morden" userId="93761272-e958-47bd-a047-5952229592b0" providerId="ADAL" clId="{1BDE6FCE-89A3-4A75-8540-53475B34D2FF}" dt="2024-12-01T06:38:05.593" v="5434" actId="478"/>
          <ac:graphicFrameMkLst>
            <pc:docMk/>
            <pc:sldMk cId="1839031691" sldId="433"/>
            <ac:graphicFrameMk id="27" creationId="{8F6B64EA-1118-79A8-20A7-0CF1D1EB6F1B}"/>
          </ac:graphicFrameMkLst>
        </pc:graphicFrameChg>
        <pc:graphicFrameChg chg="add del mod">
          <ac:chgData name="Liam Morden" userId="93761272-e958-47bd-a047-5952229592b0" providerId="ADAL" clId="{1BDE6FCE-89A3-4A75-8540-53475B34D2FF}" dt="2024-12-01T06:37:36.021" v="5433" actId="478"/>
          <ac:graphicFrameMkLst>
            <pc:docMk/>
            <pc:sldMk cId="1839031691" sldId="433"/>
            <ac:graphicFrameMk id="28" creationId="{09EB94DF-0900-DD03-2AA3-31D27A63CC47}"/>
          </ac:graphicFrameMkLst>
        </pc:graphicFrameChg>
        <pc:cxnChg chg="add mod">
          <ac:chgData name="Liam Morden" userId="93761272-e958-47bd-a047-5952229592b0" providerId="ADAL" clId="{1BDE6FCE-89A3-4A75-8540-53475B34D2FF}" dt="2024-12-01T05:58:40.183" v="5351" actId="208"/>
          <ac:cxnSpMkLst>
            <pc:docMk/>
            <pc:sldMk cId="1839031691" sldId="433"/>
            <ac:cxnSpMk id="14" creationId="{E455B32F-74D8-2DAF-DC9D-AEFDF78F8D1E}"/>
          </ac:cxnSpMkLst>
        </pc:cxnChg>
        <pc:cxnChg chg="add del mod">
          <ac:chgData name="Liam Morden" userId="93761272-e958-47bd-a047-5952229592b0" providerId="ADAL" clId="{1BDE6FCE-89A3-4A75-8540-53475B34D2FF}" dt="2024-12-01T05:59:28.301" v="5360" actId="478"/>
          <ac:cxnSpMkLst>
            <pc:docMk/>
            <pc:sldMk cId="1839031691" sldId="433"/>
            <ac:cxnSpMk id="18" creationId="{D74CBD1F-F840-180F-C652-533D0B3A0820}"/>
          </ac:cxnSpMkLst>
        </pc:cxnChg>
        <pc:cxnChg chg="add del mod">
          <ac:chgData name="Liam Morden" userId="93761272-e958-47bd-a047-5952229592b0" providerId="ADAL" clId="{1BDE6FCE-89A3-4A75-8540-53475B34D2FF}" dt="2024-12-01T05:59:29.052" v="5361" actId="478"/>
          <ac:cxnSpMkLst>
            <pc:docMk/>
            <pc:sldMk cId="1839031691" sldId="433"/>
            <ac:cxnSpMk id="22" creationId="{F0A16E35-165E-2E61-431A-58287D5E0304}"/>
          </ac:cxnSpMkLst>
        </pc:cxnChg>
      </pc:sldChg>
      <pc:sldChg chg="addSp delSp modSp add mod">
        <pc:chgData name="Liam Morden" userId="93761272-e958-47bd-a047-5952229592b0" providerId="ADAL" clId="{1BDE6FCE-89A3-4A75-8540-53475B34D2FF}" dt="2024-12-02T20:11:35.130" v="8641" actId="478"/>
        <pc:sldMkLst>
          <pc:docMk/>
          <pc:sldMk cId="919102403" sldId="434"/>
        </pc:sldMkLst>
        <pc:spChg chg="mod">
          <ac:chgData name="Liam Morden" userId="93761272-e958-47bd-a047-5952229592b0" providerId="ADAL" clId="{1BDE6FCE-89A3-4A75-8540-53475B34D2FF}" dt="2024-12-01T05:29:25.925" v="4930" actId="20577"/>
          <ac:spMkLst>
            <pc:docMk/>
            <pc:sldMk cId="919102403" sldId="434"/>
            <ac:spMk id="8" creationId="{A8F06A7F-C66A-BE1B-93B9-3C95D1B0551E}"/>
          </ac:spMkLst>
        </pc:spChg>
        <pc:spChg chg="mod">
          <ac:chgData name="Liam Morden" userId="93761272-e958-47bd-a047-5952229592b0" providerId="ADAL" clId="{1BDE6FCE-89A3-4A75-8540-53475B34D2FF}" dt="2024-12-02T01:13:26.549" v="7680" actId="27636"/>
          <ac:spMkLst>
            <pc:docMk/>
            <pc:sldMk cId="919102403" sldId="434"/>
            <ac:spMk id="9" creationId="{B016ADAA-8F0A-59CA-FA6C-3D22EE444CF9}"/>
          </ac:spMkLst>
        </pc:spChg>
        <pc:spChg chg="del mod">
          <ac:chgData name="Liam Morden" userId="93761272-e958-47bd-a047-5952229592b0" providerId="ADAL" clId="{1BDE6FCE-89A3-4A75-8540-53475B34D2FF}" dt="2024-12-02T20:11:35.130" v="8641" actId="478"/>
          <ac:spMkLst>
            <pc:docMk/>
            <pc:sldMk cId="919102403" sldId="434"/>
            <ac:spMk id="10" creationId="{2BF8EE0A-7E30-9446-3DE0-F83C361B4C0C}"/>
          </ac:spMkLst>
        </pc:spChg>
        <pc:spChg chg="del mod">
          <ac:chgData name="Liam Morden" userId="93761272-e958-47bd-a047-5952229592b0" providerId="ADAL" clId="{1BDE6FCE-89A3-4A75-8540-53475B34D2FF}" dt="2024-12-01T05:33:48.404" v="4984" actId="1957"/>
          <ac:spMkLst>
            <pc:docMk/>
            <pc:sldMk cId="919102403" sldId="434"/>
            <ac:spMk id="11" creationId="{AA72E093-1FAA-258F-89F6-A75A58CAD60A}"/>
          </ac:spMkLst>
        </pc:spChg>
        <pc:spChg chg="mod">
          <ac:chgData name="Liam Morden" userId="93761272-e958-47bd-a047-5952229592b0" providerId="ADAL" clId="{1BDE6FCE-89A3-4A75-8540-53475B34D2FF}" dt="2024-12-01T05:29:32.801" v="4953" actId="20577"/>
          <ac:spMkLst>
            <pc:docMk/>
            <pc:sldMk cId="919102403" sldId="434"/>
            <ac:spMk id="12" creationId="{F9AC5734-4512-986C-F61B-2E399E29EF04}"/>
          </ac:spMkLst>
        </pc:spChg>
        <pc:spChg chg="add del mod">
          <ac:chgData name="Liam Morden" userId="93761272-e958-47bd-a047-5952229592b0" providerId="ADAL" clId="{1BDE6FCE-89A3-4A75-8540-53475B34D2FF}" dt="2024-12-01T05:22:03.698" v="4811" actId="1957"/>
          <ac:spMkLst>
            <pc:docMk/>
            <pc:sldMk cId="919102403" sldId="434"/>
            <ac:spMk id="15" creationId="{ED0F4134-B386-3FBA-F740-78EF812A90BA}"/>
          </ac:spMkLst>
        </pc:spChg>
        <pc:spChg chg="add mod">
          <ac:chgData name="Liam Morden" userId="93761272-e958-47bd-a047-5952229592b0" providerId="ADAL" clId="{1BDE6FCE-89A3-4A75-8540-53475B34D2FF}" dt="2024-12-02T16:45:18.768" v="7800" actId="14100"/>
          <ac:spMkLst>
            <pc:docMk/>
            <pc:sldMk cId="919102403" sldId="434"/>
            <ac:spMk id="16" creationId="{4984DC83-0ACA-2537-EC07-A8AD95869460}"/>
          </ac:spMkLst>
        </pc:spChg>
        <pc:spChg chg="add mod">
          <ac:chgData name="Liam Morden" userId="93761272-e958-47bd-a047-5952229592b0" providerId="ADAL" clId="{1BDE6FCE-89A3-4A75-8540-53475B34D2FF}" dt="2024-12-02T16:45:50.545" v="7823" actId="5793"/>
          <ac:spMkLst>
            <pc:docMk/>
            <pc:sldMk cId="919102403" sldId="434"/>
            <ac:spMk id="19" creationId="{72F19FEE-0413-54BD-E43A-E0263B56685F}"/>
          </ac:spMkLst>
        </pc:spChg>
        <pc:graphicFrameChg chg="add mod">
          <ac:chgData name="Liam Morden" userId="93761272-e958-47bd-a047-5952229592b0" providerId="ADAL" clId="{1BDE6FCE-89A3-4A75-8540-53475B34D2FF}" dt="2024-12-01T21:40:01.904" v="7159" actId="207"/>
          <ac:graphicFrameMkLst>
            <pc:docMk/>
            <pc:sldMk cId="919102403" sldId="434"/>
            <ac:graphicFrameMk id="18" creationId="{89D011BB-FF10-5B16-E185-B8080C4064AE}"/>
          </ac:graphicFrameMkLst>
        </pc:graphicFrameChg>
        <pc:graphicFrameChg chg="add mod">
          <ac:chgData name="Liam Morden" userId="93761272-e958-47bd-a047-5952229592b0" providerId="ADAL" clId="{1BDE6FCE-89A3-4A75-8540-53475B34D2FF}" dt="2024-12-02T16:45:30.743" v="7806" actId="1076"/>
          <ac:graphicFrameMkLst>
            <pc:docMk/>
            <pc:sldMk cId="919102403" sldId="434"/>
            <ac:graphicFrameMk id="21" creationId="{353B6797-2FFA-1EF4-3F91-C7710BFE23FB}"/>
          </ac:graphicFrameMkLst>
        </pc:graphicFrameChg>
        <pc:picChg chg="del">
          <ac:chgData name="Liam Morden" userId="93761272-e958-47bd-a047-5952229592b0" providerId="ADAL" clId="{1BDE6FCE-89A3-4A75-8540-53475B34D2FF}" dt="2024-12-01T05:21:59.988" v="4809" actId="478"/>
          <ac:picMkLst>
            <pc:docMk/>
            <pc:sldMk cId="919102403" sldId="434"/>
            <ac:picMk id="13" creationId="{DA89CA2A-218C-0E4E-1C5D-ED7C12E4678E}"/>
          </ac:picMkLst>
        </pc:picChg>
        <pc:cxnChg chg="add mod">
          <ac:chgData name="Liam Morden" userId="93761272-e958-47bd-a047-5952229592b0" providerId="ADAL" clId="{1BDE6FCE-89A3-4A75-8540-53475B34D2FF}" dt="2024-12-02T16:45:36.114" v="7808" actId="14100"/>
          <ac:cxnSpMkLst>
            <pc:docMk/>
            <pc:sldMk cId="919102403" sldId="434"/>
            <ac:cxnSpMk id="13" creationId="{ED2DA06E-D72A-29FF-4671-BE46E23BE1F8}"/>
          </ac:cxnSpMkLst>
        </pc:cxnChg>
        <pc:cxnChg chg="add mod">
          <ac:chgData name="Liam Morden" userId="93761272-e958-47bd-a047-5952229592b0" providerId="ADAL" clId="{1BDE6FCE-89A3-4A75-8540-53475B34D2FF}" dt="2024-12-02T16:45:24.341" v="7803" actId="14100"/>
          <ac:cxnSpMkLst>
            <pc:docMk/>
            <pc:sldMk cId="919102403" sldId="434"/>
            <ac:cxnSpMk id="14" creationId="{1D177CD3-10F8-135E-77E7-8013B453DE84}"/>
          </ac:cxnSpMkLst>
        </pc:cxnChg>
      </pc:sldChg>
      <pc:sldChg chg="add del">
        <pc:chgData name="Liam Morden" userId="93761272-e958-47bd-a047-5952229592b0" providerId="ADAL" clId="{1BDE6FCE-89A3-4A75-8540-53475B34D2FF}" dt="2024-12-01T06:38:08.469" v="5435" actId="47"/>
        <pc:sldMkLst>
          <pc:docMk/>
          <pc:sldMk cId="2093461126" sldId="435"/>
        </pc:sldMkLst>
      </pc:sldChg>
      <pc:sldChg chg="addSp delSp modSp add mod modShow">
        <pc:chgData name="Liam Morden" userId="93761272-e958-47bd-a047-5952229592b0" providerId="ADAL" clId="{1BDE6FCE-89A3-4A75-8540-53475B34D2FF}" dt="2024-12-02T20:11:44.450" v="8646" actId="478"/>
        <pc:sldMkLst>
          <pc:docMk/>
          <pc:sldMk cId="2414399631" sldId="435"/>
        </pc:sldMkLst>
        <pc:spChg chg="del mod">
          <ac:chgData name="Liam Morden" userId="93761272-e958-47bd-a047-5952229592b0" providerId="ADAL" clId="{1BDE6FCE-89A3-4A75-8540-53475B34D2FF}" dt="2024-12-02T20:11:44.450" v="8646" actId="478"/>
          <ac:spMkLst>
            <pc:docMk/>
            <pc:sldMk cId="2414399631" sldId="435"/>
            <ac:spMk id="2" creationId="{4F0CAA33-4C38-FF2F-4493-90089E377486}"/>
          </ac:spMkLst>
        </pc:spChg>
        <pc:spChg chg="mod">
          <ac:chgData name="Liam Morden" userId="93761272-e958-47bd-a047-5952229592b0" providerId="ADAL" clId="{1BDE6FCE-89A3-4A75-8540-53475B34D2FF}" dt="2024-12-02T00:38:58.910" v="7265" actId="20577"/>
          <ac:spMkLst>
            <pc:docMk/>
            <pc:sldMk cId="2414399631" sldId="435"/>
            <ac:spMk id="3" creationId="{B83B66E2-F5EC-089B-9231-57C8158C3F58}"/>
          </ac:spMkLst>
        </pc:spChg>
        <pc:spChg chg="mod">
          <ac:chgData name="Liam Morden" userId="93761272-e958-47bd-a047-5952229592b0" providerId="ADAL" clId="{1BDE6FCE-89A3-4A75-8540-53475B34D2FF}" dt="2024-12-02T17:00:15.252" v="8149" actId="20577"/>
          <ac:spMkLst>
            <pc:docMk/>
            <pc:sldMk cId="2414399631" sldId="435"/>
            <ac:spMk id="4" creationId="{D7AFA2DB-6C34-E5CB-3F89-2A78A2BC332A}"/>
          </ac:spMkLst>
        </pc:spChg>
        <pc:spChg chg="del mod">
          <ac:chgData name="Liam Morden" userId="93761272-e958-47bd-a047-5952229592b0" providerId="ADAL" clId="{1BDE6FCE-89A3-4A75-8540-53475B34D2FF}" dt="2024-12-01T21:04:30.692" v="6184" actId="478"/>
          <ac:spMkLst>
            <pc:docMk/>
            <pc:sldMk cId="2414399631" sldId="435"/>
            <ac:spMk id="5" creationId="{31A92A5E-12D0-94E8-3659-23AE2AA5D0D7}"/>
          </ac:spMkLst>
        </pc:spChg>
        <pc:spChg chg="mod">
          <ac:chgData name="Liam Morden" userId="93761272-e958-47bd-a047-5952229592b0" providerId="ADAL" clId="{1BDE6FCE-89A3-4A75-8540-53475B34D2FF}" dt="2024-12-02T16:55:15.138" v="8028" actId="20577"/>
          <ac:spMkLst>
            <pc:docMk/>
            <pc:sldMk cId="2414399631" sldId="435"/>
            <ac:spMk id="6" creationId="{391F8529-822A-C29E-2A00-504476DF8E88}"/>
          </ac:spMkLst>
        </pc:spChg>
        <pc:spChg chg="del">
          <ac:chgData name="Liam Morden" userId="93761272-e958-47bd-a047-5952229592b0" providerId="ADAL" clId="{1BDE6FCE-89A3-4A75-8540-53475B34D2FF}" dt="2024-12-01T21:04:28.679" v="6182" actId="478"/>
          <ac:spMkLst>
            <pc:docMk/>
            <pc:sldMk cId="2414399631" sldId="435"/>
            <ac:spMk id="9" creationId="{3E8A122E-2BC0-D610-2EC0-CB01F694839F}"/>
          </ac:spMkLst>
        </pc:spChg>
        <pc:spChg chg="mod">
          <ac:chgData name="Liam Morden" userId="93761272-e958-47bd-a047-5952229592b0" providerId="ADAL" clId="{1BDE6FCE-89A3-4A75-8540-53475B34D2FF}" dt="2024-12-01T21:08:57.941" v="6267" actId="20577"/>
          <ac:spMkLst>
            <pc:docMk/>
            <pc:sldMk cId="2414399631" sldId="435"/>
            <ac:spMk id="10" creationId="{796F738E-E4A4-5335-1995-6A8CF4633480}"/>
          </ac:spMkLst>
        </pc:spChg>
        <pc:spChg chg="mod">
          <ac:chgData name="Liam Morden" userId="93761272-e958-47bd-a047-5952229592b0" providerId="ADAL" clId="{1BDE6FCE-89A3-4A75-8540-53475B34D2FF}" dt="2024-12-02T17:21:31.613" v="8323" actId="114"/>
          <ac:spMkLst>
            <pc:docMk/>
            <pc:sldMk cId="2414399631" sldId="435"/>
            <ac:spMk id="22" creationId="{E56A9CB0-0BCA-D6E8-272B-9D3B67529B87}"/>
          </ac:spMkLst>
        </pc:spChg>
        <pc:spChg chg="mod">
          <ac:chgData name="Liam Morden" userId="93761272-e958-47bd-a047-5952229592b0" providerId="ADAL" clId="{1BDE6FCE-89A3-4A75-8540-53475B34D2FF}" dt="2024-12-01T21:26:11.751" v="7080" actId="20577"/>
          <ac:spMkLst>
            <pc:docMk/>
            <pc:sldMk cId="2414399631" sldId="435"/>
            <ac:spMk id="23" creationId="{9D141905-6766-798B-110C-C95AA9BF7771}"/>
          </ac:spMkLst>
        </pc:spChg>
        <pc:spChg chg="add del mod">
          <ac:chgData name="Liam Morden" userId="93761272-e958-47bd-a047-5952229592b0" providerId="ADAL" clId="{1BDE6FCE-89A3-4A75-8540-53475B34D2FF}" dt="2024-12-02T16:55:31.508" v="8046" actId="14100"/>
          <ac:spMkLst>
            <pc:docMk/>
            <pc:sldMk cId="2414399631" sldId="435"/>
            <ac:spMk id="31" creationId="{3EEECABE-5B64-79ED-BE1B-0AC7AEAFCBC6}"/>
          </ac:spMkLst>
        </pc:spChg>
        <pc:spChg chg="del">
          <ac:chgData name="Liam Morden" userId="93761272-e958-47bd-a047-5952229592b0" providerId="ADAL" clId="{1BDE6FCE-89A3-4A75-8540-53475B34D2FF}" dt="2024-12-01T21:25:52.402" v="7060" actId="478"/>
          <ac:spMkLst>
            <pc:docMk/>
            <pc:sldMk cId="2414399631" sldId="435"/>
            <ac:spMk id="35" creationId="{0F99FB1F-29CE-E30E-30D7-43CD03076E87}"/>
          </ac:spMkLst>
        </pc:spChg>
        <pc:spChg chg="add del mod">
          <ac:chgData name="Liam Morden" userId="93761272-e958-47bd-a047-5952229592b0" providerId="ADAL" clId="{1BDE6FCE-89A3-4A75-8540-53475B34D2FF}" dt="2024-12-02T16:54:42.223" v="7950" actId="11529"/>
          <ac:spMkLst>
            <pc:docMk/>
            <pc:sldMk cId="2414399631" sldId="435"/>
            <ac:spMk id="40" creationId="{77D7818A-6976-6C35-EEBC-638E5C23A2B9}"/>
          </ac:spMkLst>
        </pc:spChg>
        <pc:spChg chg="add mod">
          <ac:chgData name="Liam Morden" userId="93761272-e958-47bd-a047-5952229592b0" providerId="ADAL" clId="{1BDE6FCE-89A3-4A75-8540-53475B34D2FF}" dt="2024-12-02T17:14:30.190" v="8280" actId="20577"/>
          <ac:spMkLst>
            <pc:docMk/>
            <pc:sldMk cId="2414399631" sldId="435"/>
            <ac:spMk id="51" creationId="{CCDCB1C1-1375-35F3-CA3D-22D369DAE23C}"/>
          </ac:spMkLst>
        </pc:spChg>
        <pc:graphicFrameChg chg="del">
          <ac:chgData name="Liam Morden" userId="93761272-e958-47bd-a047-5952229592b0" providerId="ADAL" clId="{1BDE6FCE-89A3-4A75-8540-53475B34D2FF}" dt="2024-12-01T21:04:25.787" v="6180" actId="478"/>
          <ac:graphicFrameMkLst>
            <pc:docMk/>
            <pc:sldMk cId="2414399631" sldId="435"/>
            <ac:graphicFrameMk id="11" creationId="{7FD4A34C-4FD5-3A50-F357-3AE600750BEE}"/>
          </ac:graphicFrameMkLst>
        </pc:graphicFrameChg>
        <pc:graphicFrameChg chg="del">
          <ac:chgData name="Liam Morden" userId="93761272-e958-47bd-a047-5952229592b0" providerId="ADAL" clId="{1BDE6FCE-89A3-4A75-8540-53475B34D2FF}" dt="2024-12-01T21:04:27.027" v="6181" actId="478"/>
          <ac:graphicFrameMkLst>
            <pc:docMk/>
            <pc:sldMk cId="2414399631" sldId="435"/>
            <ac:graphicFrameMk id="16" creationId="{87712B63-548D-9288-6D35-868EAD1233FF}"/>
          </ac:graphicFrameMkLst>
        </pc:graphicFrameChg>
        <pc:graphicFrameChg chg="add mod">
          <ac:chgData name="Liam Morden" userId="93761272-e958-47bd-a047-5952229592b0" providerId="ADAL" clId="{1BDE6FCE-89A3-4A75-8540-53475B34D2FF}" dt="2024-12-01T21:25:29.082" v="7053" actId="1957"/>
          <ac:graphicFrameMkLst>
            <pc:docMk/>
            <pc:sldMk cId="2414399631" sldId="435"/>
            <ac:graphicFrameMk id="19" creationId="{03EF3BF0-DE9E-143E-DFBF-1A6E3DA1F81B}"/>
          </ac:graphicFrameMkLst>
        </pc:graphicFrameChg>
        <pc:graphicFrameChg chg="add mod">
          <ac:chgData name="Liam Morden" userId="93761272-e958-47bd-a047-5952229592b0" providerId="ADAL" clId="{1BDE6FCE-89A3-4A75-8540-53475B34D2FF}" dt="2024-12-02T17:11:33.220" v="8201" actId="207"/>
          <ac:graphicFrameMkLst>
            <pc:docMk/>
            <pc:sldMk cId="2414399631" sldId="435"/>
            <ac:graphicFrameMk id="27" creationId="{7D90D7F4-F6AA-92B6-B42B-9B7524FC48BD}"/>
          </ac:graphicFrameMkLst>
        </pc:graphicFrameChg>
        <pc:graphicFrameChg chg="add mod">
          <ac:chgData name="Liam Morden" userId="93761272-e958-47bd-a047-5952229592b0" providerId="ADAL" clId="{1BDE6FCE-89A3-4A75-8540-53475B34D2FF}" dt="2024-12-02T17:11:59.693" v="8220"/>
          <ac:graphicFrameMkLst>
            <pc:docMk/>
            <pc:sldMk cId="2414399631" sldId="435"/>
            <ac:graphicFrameMk id="43" creationId="{6722475D-9D56-AA89-4130-52845B49CCA3}"/>
          </ac:graphicFrameMkLst>
        </pc:graphicFrameChg>
        <pc:cxnChg chg="del">
          <ac:chgData name="Liam Morden" userId="93761272-e958-47bd-a047-5952229592b0" providerId="ADAL" clId="{1BDE6FCE-89A3-4A75-8540-53475B34D2FF}" dt="2024-12-01T21:04:28.679" v="6182" actId="478"/>
          <ac:cxnSpMkLst>
            <pc:docMk/>
            <pc:sldMk cId="2414399631" sldId="435"/>
            <ac:cxnSpMk id="8" creationId="{950DB825-BBCA-C4C4-EB54-D2A7C69D791E}"/>
          </ac:cxnSpMkLst>
        </pc:cxnChg>
        <pc:cxnChg chg="del">
          <ac:chgData name="Liam Morden" userId="93761272-e958-47bd-a047-5952229592b0" providerId="ADAL" clId="{1BDE6FCE-89A3-4A75-8540-53475B34D2FF}" dt="2024-12-01T21:04:28.679" v="6182" actId="478"/>
          <ac:cxnSpMkLst>
            <pc:docMk/>
            <pc:sldMk cId="2414399631" sldId="435"/>
            <ac:cxnSpMk id="12" creationId="{6150ACAC-51D0-1620-95D1-A7939CA11C77}"/>
          </ac:cxnSpMkLst>
        </pc:cxnChg>
        <pc:cxnChg chg="del">
          <ac:chgData name="Liam Morden" userId="93761272-e958-47bd-a047-5952229592b0" providerId="ADAL" clId="{1BDE6FCE-89A3-4A75-8540-53475B34D2FF}" dt="2024-12-01T21:04:28.679" v="6182" actId="478"/>
          <ac:cxnSpMkLst>
            <pc:docMk/>
            <pc:sldMk cId="2414399631" sldId="435"/>
            <ac:cxnSpMk id="14" creationId="{6FCEEDAC-6662-7748-C402-9F1432A3C12A}"/>
          </ac:cxnSpMkLst>
        </pc:cxnChg>
        <pc:cxnChg chg="del">
          <ac:chgData name="Liam Morden" userId="93761272-e958-47bd-a047-5952229592b0" providerId="ADAL" clId="{1BDE6FCE-89A3-4A75-8540-53475B34D2FF}" dt="2024-12-01T21:25:53.627" v="7061" actId="478"/>
          <ac:cxnSpMkLst>
            <pc:docMk/>
            <pc:sldMk cId="2414399631" sldId="435"/>
            <ac:cxnSpMk id="20" creationId="{4B91C1B8-CF1F-D76F-CBBA-1FAA1F1D3DF4}"/>
          </ac:cxnSpMkLst>
        </pc:cxnChg>
        <pc:cxnChg chg="del">
          <ac:chgData name="Liam Morden" userId="93761272-e958-47bd-a047-5952229592b0" providerId="ADAL" clId="{1BDE6FCE-89A3-4A75-8540-53475B34D2FF}" dt="2024-12-01T21:25:51.286" v="7059" actId="478"/>
          <ac:cxnSpMkLst>
            <pc:docMk/>
            <pc:sldMk cId="2414399631" sldId="435"/>
            <ac:cxnSpMk id="26" creationId="{AE44CF45-37C9-7403-3C65-3277E824ED51}"/>
          </ac:cxnSpMkLst>
        </pc:cxnChg>
        <pc:cxnChg chg="add del mod">
          <ac:chgData name="Liam Morden" userId="93761272-e958-47bd-a047-5952229592b0" providerId="ADAL" clId="{1BDE6FCE-89A3-4A75-8540-53475B34D2FF}" dt="2024-12-02T16:54:42.394" v="7951" actId="478"/>
          <ac:cxnSpMkLst>
            <pc:docMk/>
            <pc:sldMk cId="2414399631" sldId="435"/>
            <ac:cxnSpMk id="28" creationId="{A4C4E5ED-63B0-6D75-413F-68A733740D06}"/>
          </ac:cxnSpMkLst>
        </pc:cxnChg>
        <pc:cxnChg chg="add del mod">
          <ac:chgData name="Liam Morden" userId="93761272-e958-47bd-a047-5952229592b0" providerId="ADAL" clId="{1BDE6FCE-89A3-4A75-8540-53475B34D2FF}" dt="2024-12-02T16:54:42.724" v="7953" actId="478"/>
          <ac:cxnSpMkLst>
            <pc:docMk/>
            <pc:sldMk cId="2414399631" sldId="435"/>
            <ac:cxnSpMk id="29" creationId="{EAD735FE-20AC-ECB7-1B3B-86B7199DFC44}"/>
          </ac:cxnSpMkLst>
        </pc:cxnChg>
        <pc:cxnChg chg="del">
          <ac:chgData name="Liam Morden" userId="93761272-e958-47bd-a047-5952229592b0" providerId="ADAL" clId="{1BDE6FCE-89A3-4A75-8540-53475B34D2FF}" dt="2024-12-01T21:25:51.286" v="7059" actId="478"/>
          <ac:cxnSpMkLst>
            <pc:docMk/>
            <pc:sldMk cId="2414399631" sldId="435"/>
            <ac:cxnSpMk id="30" creationId="{DD567784-C326-027F-4E3A-9BD71D7AB2A9}"/>
          </ac:cxnSpMkLst>
        </pc:cxnChg>
        <pc:cxnChg chg="add del mod">
          <ac:chgData name="Liam Morden" userId="93761272-e958-47bd-a047-5952229592b0" providerId="ADAL" clId="{1BDE6FCE-89A3-4A75-8540-53475B34D2FF}" dt="2024-12-02T17:12:31.736" v="8255" actId="1076"/>
          <ac:cxnSpMkLst>
            <pc:docMk/>
            <pc:sldMk cId="2414399631" sldId="435"/>
            <ac:cxnSpMk id="32" creationId="{21B36681-6E74-5D5A-AE4B-C51FA37AF1BC}"/>
          </ac:cxnSpMkLst>
        </pc:cxnChg>
        <pc:cxnChg chg="add mod">
          <ac:chgData name="Liam Morden" userId="93761272-e958-47bd-a047-5952229592b0" providerId="ADAL" clId="{1BDE6FCE-89A3-4A75-8540-53475B34D2FF}" dt="2024-12-02T17:13:22.718" v="8263" actId="14100"/>
          <ac:cxnSpMkLst>
            <pc:docMk/>
            <pc:sldMk cId="2414399631" sldId="435"/>
            <ac:cxnSpMk id="44" creationId="{5924C6FF-B141-AA22-2C6F-272A35DAF041}"/>
          </ac:cxnSpMkLst>
        </pc:cxnChg>
        <pc:cxnChg chg="add mod">
          <ac:chgData name="Liam Morden" userId="93761272-e958-47bd-a047-5952229592b0" providerId="ADAL" clId="{1BDE6FCE-89A3-4A75-8540-53475B34D2FF}" dt="2024-12-02T17:13:41.672" v="8269" actId="1076"/>
          <ac:cxnSpMkLst>
            <pc:docMk/>
            <pc:sldMk cId="2414399631" sldId="435"/>
            <ac:cxnSpMk id="49" creationId="{A1D6BC53-F6C5-E1F4-72F4-7B2A117C0EF8}"/>
          </ac:cxnSpMkLst>
        </pc:cxnChg>
      </pc:sldChg>
      <pc:sldChg chg="addSp delSp modSp new mod">
        <pc:chgData name="Liam Morden" userId="93761272-e958-47bd-a047-5952229592b0" providerId="ADAL" clId="{1BDE6FCE-89A3-4A75-8540-53475B34D2FF}" dt="2024-12-02T20:11:58.538" v="8654" actId="478"/>
        <pc:sldMkLst>
          <pc:docMk/>
          <pc:sldMk cId="3129122631" sldId="436"/>
        </pc:sldMkLst>
        <pc:spChg chg="mod">
          <ac:chgData name="Liam Morden" userId="93761272-e958-47bd-a047-5952229592b0" providerId="ADAL" clId="{1BDE6FCE-89A3-4A75-8540-53475B34D2FF}" dt="2024-12-02T00:46:35.297" v="7392" actId="20577"/>
          <ac:spMkLst>
            <pc:docMk/>
            <pc:sldMk cId="3129122631" sldId="436"/>
            <ac:spMk id="2" creationId="{00AB682F-B9E0-4396-E75B-7BE526D9D943}"/>
          </ac:spMkLst>
        </pc:spChg>
        <pc:spChg chg="del mod">
          <ac:chgData name="Liam Morden" userId="93761272-e958-47bd-a047-5952229592b0" providerId="ADAL" clId="{1BDE6FCE-89A3-4A75-8540-53475B34D2FF}" dt="2024-12-02T00:46:11.799" v="7365"/>
          <ac:spMkLst>
            <pc:docMk/>
            <pc:sldMk cId="3129122631" sldId="436"/>
            <ac:spMk id="3" creationId="{FE5BCBBC-8354-0821-6421-283DB42B5F80}"/>
          </ac:spMkLst>
        </pc:spChg>
        <pc:spChg chg="mod">
          <ac:chgData name="Liam Morden" userId="93761272-e958-47bd-a047-5952229592b0" providerId="ADAL" clId="{1BDE6FCE-89A3-4A75-8540-53475B34D2FF}" dt="2024-12-02T00:46:06.826" v="7364" actId="20577"/>
          <ac:spMkLst>
            <pc:docMk/>
            <pc:sldMk cId="3129122631" sldId="436"/>
            <ac:spMk id="4" creationId="{A875A511-713A-F46D-1B92-6056BAD85FEB}"/>
          </ac:spMkLst>
        </pc:spChg>
        <pc:spChg chg="mod">
          <ac:chgData name="Liam Morden" userId="93761272-e958-47bd-a047-5952229592b0" providerId="ADAL" clId="{1BDE6FCE-89A3-4A75-8540-53475B34D2FF}" dt="2024-12-02T20:02:29.897" v="8498"/>
          <ac:spMkLst>
            <pc:docMk/>
            <pc:sldMk cId="3129122631" sldId="436"/>
            <ac:spMk id="5" creationId="{918752BB-4C2D-4BB1-9EFA-510387FE9E61}"/>
          </ac:spMkLst>
        </pc:spChg>
        <pc:spChg chg="add mod">
          <ac:chgData name="Liam Morden" userId="93761272-e958-47bd-a047-5952229592b0" providerId="ADAL" clId="{1BDE6FCE-89A3-4A75-8540-53475B34D2FF}" dt="2024-12-02T00:46:52.582" v="7395" actId="2085"/>
          <ac:spMkLst>
            <pc:docMk/>
            <pc:sldMk cId="3129122631" sldId="436"/>
            <ac:spMk id="7" creationId="{9C7C4D65-4D16-7494-C191-87433FC72891}"/>
          </ac:spMkLst>
        </pc:spChg>
        <pc:spChg chg="add del mod">
          <ac:chgData name="Liam Morden" userId="93761272-e958-47bd-a047-5952229592b0" providerId="ADAL" clId="{1BDE6FCE-89A3-4A75-8540-53475B34D2FF}" dt="2024-12-02T20:11:58.538" v="8654" actId="478"/>
          <ac:spMkLst>
            <pc:docMk/>
            <pc:sldMk cId="3129122631" sldId="436"/>
            <ac:spMk id="8" creationId="{1670D5FB-6961-B97B-7DBF-0737EFF7B8D2}"/>
          </ac:spMkLst>
        </pc:spChg>
        <pc:graphicFrameChg chg="add mod modGraphic">
          <ac:chgData name="Liam Morden" userId="93761272-e958-47bd-a047-5952229592b0" providerId="ADAL" clId="{1BDE6FCE-89A3-4A75-8540-53475B34D2FF}" dt="2024-12-02T00:47:17.067" v="7398" actId="14100"/>
          <ac:graphicFrameMkLst>
            <pc:docMk/>
            <pc:sldMk cId="3129122631" sldId="436"/>
            <ac:graphicFrameMk id="6" creationId="{B239EAA1-7297-BDB1-5910-65DE10C3B678}"/>
          </ac:graphicFrameMkLst>
        </pc:graphicFrameChg>
      </pc:sldChg>
      <pc:sldChg chg="delSp modSp add del mod">
        <pc:chgData name="Liam Morden" userId="93761272-e958-47bd-a047-5952229592b0" providerId="ADAL" clId="{1BDE6FCE-89A3-4A75-8540-53475B34D2FF}" dt="2024-12-02T00:58:33.572" v="7522" actId="47"/>
        <pc:sldMkLst>
          <pc:docMk/>
          <pc:sldMk cId="3370858017" sldId="437"/>
        </pc:sldMkLst>
        <pc:graphicFrameChg chg="del">
          <ac:chgData name="Liam Morden" userId="93761272-e958-47bd-a047-5952229592b0" providerId="ADAL" clId="{1BDE6FCE-89A3-4A75-8540-53475B34D2FF}" dt="2024-12-02T00:55:15.764" v="7411" actId="478"/>
          <ac:graphicFrameMkLst>
            <pc:docMk/>
            <pc:sldMk cId="3370858017" sldId="437"/>
            <ac:graphicFrameMk id="15" creationId="{ECA9AAC8-D9E3-7F93-26BC-44A1817AEE10}"/>
          </ac:graphicFrameMkLst>
        </pc:graphicFrameChg>
        <pc:graphicFrameChg chg="del">
          <ac:chgData name="Liam Morden" userId="93761272-e958-47bd-a047-5952229592b0" providerId="ADAL" clId="{1BDE6FCE-89A3-4A75-8540-53475B34D2FF}" dt="2024-12-02T00:55:13.263" v="7410" actId="478"/>
          <ac:graphicFrameMkLst>
            <pc:docMk/>
            <pc:sldMk cId="3370858017" sldId="437"/>
            <ac:graphicFrameMk id="16" creationId="{A386DC20-E7E6-6E7F-3BD4-F6893E07C91D}"/>
          </ac:graphicFrameMkLst>
        </pc:graphicFrameChg>
        <pc:graphicFrameChg chg="mod">
          <ac:chgData name="Liam Morden" userId="93761272-e958-47bd-a047-5952229592b0" providerId="ADAL" clId="{1BDE6FCE-89A3-4A75-8540-53475B34D2FF}" dt="2024-12-02T00:55:35.820" v="7415" actId="1076"/>
          <ac:graphicFrameMkLst>
            <pc:docMk/>
            <pc:sldMk cId="3370858017" sldId="437"/>
            <ac:graphicFrameMk id="17" creationId="{5177AC9D-67DD-06E4-D688-42524B7B78DC}"/>
          </ac:graphicFrameMkLst>
        </pc:graphicFrameChg>
        <pc:graphicFrameChg chg="mod">
          <ac:chgData name="Liam Morden" userId="93761272-e958-47bd-a047-5952229592b0" providerId="ADAL" clId="{1BDE6FCE-89A3-4A75-8540-53475B34D2FF}" dt="2024-12-02T00:55:21.900" v="7412" actId="1076"/>
          <ac:graphicFrameMkLst>
            <pc:docMk/>
            <pc:sldMk cId="3370858017" sldId="437"/>
            <ac:graphicFrameMk id="18" creationId="{B204EFED-3DFA-D233-DD3D-287C3715B773}"/>
          </ac:graphicFrameMkLst>
        </pc:graphicFrameChg>
        <pc:graphicFrameChg chg="mod">
          <ac:chgData name="Liam Morden" userId="93761272-e958-47bd-a047-5952229592b0" providerId="ADAL" clId="{1BDE6FCE-89A3-4A75-8540-53475B34D2FF}" dt="2024-12-02T00:55:25.204" v="7413" actId="1076"/>
          <ac:graphicFrameMkLst>
            <pc:docMk/>
            <pc:sldMk cId="3370858017" sldId="437"/>
            <ac:graphicFrameMk id="19" creationId="{922BCCC4-4D19-2914-A0B7-45266E587A6B}"/>
          </ac:graphicFrameMkLst>
        </pc:graphicFrameChg>
        <pc:graphicFrameChg chg="mod">
          <ac:chgData name="Liam Morden" userId="93761272-e958-47bd-a047-5952229592b0" providerId="ADAL" clId="{1BDE6FCE-89A3-4A75-8540-53475B34D2FF}" dt="2024-12-02T00:55:29.362" v="7414" actId="1076"/>
          <ac:graphicFrameMkLst>
            <pc:docMk/>
            <pc:sldMk cId="3370858017" sldId="437"/>
            <ac:graphicFrameMk id="20" creationId="{EDA96CD7-A826-72D4-5EE7-CFFCBF6415A9}"/>
          </ac:graphicFrameMkLst>
        </pc:graphicFrameChg>
      </pc:sldChg>
      <pc:sldChg chg="addSp delSp modSp new mod ord">
        <pc:chgData name="Liam Morden" userId="93761272-e958-47bd-a047-5952229592b0" providerId="ADAL" clId="{1BDE6FCE-89A3-4A75-8540-53475B34D2FF}" dt="2024-12-02T20:11:45.872" v="8647" actId="478"/>
        <pc:sldMkLst>
          <pc:docMk/>
          <pc:sldMk cId="2400767374" sldId="438"/>
        </pc:sldMkLst>
        <pc:spChg chg="mod">
          <ac:chgData name="Liam Morden" userId="93761272-e958-47bd-a047-5952229592b0" providerId="ADAL" clId="{1BDE6FCE-89A3-4A75-8540-53475B34D2FF}" dt="2024-12-02T00:58:57.999" v="7563" actId="20577"/>
          <ac:spMkLst>
            <pc:docMk/>
            <pc:sldMk cId="2400767374" sldId="438"/>
            <ac:spMk id="2" creationId="{B08B6372-E58C-0116-2FE5-9A0E31580D3A}"/>
          </ac:spMkLst>
        </pc:spChg>
        <pc:spChg chg="mod">
          <ac:chgData name="Liam Morden" userId="93761272-e958-47bd-a047-5952229592b0" providerId="ADAL" clId="{1BDE6FCE-89A3-4A75-8540-53475B34D2FF}" dt="2024-12-02T00:58:28.936" v="7521" actId="20577"/>
          <ac:spMkLst>
            <pc:docMk/>
            <pc:sldMk cId="2400767374" sldId="438"/>
            <ac:spMk id="3" creationId="{8A8E625D-A13F-2B7F-3C6D-64B9C794055B}"/>
          </ac:spMkLst>
        </pc:spChg>
        <pc:spChg chg="mod">
          <ac:chgData name="Liam Morden" userId="93761272-e958-47bd-a047-5952229592b0" providerId="ADAL" clId="{1BDE6FCE-89A3-4A75-8540-53475B34D2FF}" dt="2024-12-02T00:56:51.173" v="7458" actId="20577"/>
          <ac:spMkLst>
            <pc:docMk/>
            <pc:sldMk cId="2400767374" sldId="438"/>
            <ac:spMk id="4" creationId="{0C3D022B-BCB7-65DF-6912-47F5E01664DC}"/>
          </ac:spMkLst>
        </pc:spChg>
        <pc:spChg chg="del">
          <ac:chgData name="Liam Morden" userId="93761272-e958-47bd-a047-5952229592b0" providerId="ADAL" clId="{1BDE6FCE-89A3-4A75-8540-53475B34D2FF}" dt="2024-12-02T00:56:10.469" v="7424" actId="478"/>
          <ac:spMkLst>
            <pc:docMk/>
            <pc:sldMk cId="2400767374" sldId="438"/>
            <ac:spMk id="5" creationId="{ED772BFD-2E3C-30AF-EEFD-2192FE31C623}"/>
          </ac:spMkLst>
        </pc:spChg>
        <pc:spChg chg="mod">
          <ac:chgData name="Liam Morden" userId="93761272-e958-47bd-a047-5952229592b0" providerId="ADAL" clId="{1BDE6FCE-89A3-4A75-8540-53475B34D2FF}" dt="2024-12-02T00:58:17.741" v="7516" actId="20577"/>
          <ac:spMkLst>
            <pc:docMk/>
            <pc:sldMk cId="2400767374" sldId="438"/>
            <ac:spMk id="6" creationId="{9E05CEE4-8928-CEBC-E604-AC26B02F59D0}"/>
          </ac:spMkLst>
        </pc:spChg>
        <pc:spChg chg="mod">
          <ac:chgData name="Liam Morden" userId="93761272-e958-47bd-a047-5952229592b0" providerId="ADAL" clId="{1BDE6FCE-89A3-4A75-8540-53475B34D2FF}" dt="2024-12-02T00:59:17.035" v="7577" actId="20577"/>
          <ac:spMkLst>
            <pc:docMk/>
            <pc:sldMk cId="2400767374" sldId="438"/>
            <ac:spMk id="7" creationId="{28D3116F-D0FD-5C6C-4C83-C52CE1A4277F}"/>
          </ac:spMkLst>
        </pc:spChg>
        <pc:spChg chg="del">
          <ac:chgData name="Liam Morden" userId="93761272-e958-47bd-a047-5952229592b0" providerId="ADAL" clId="{1BDE6FCE-89A3-4A75-8540-53475B34D2FF}" dt="2024-12-02T00:55:57.672" v="7419" actId="478"/>
          <ac:spMkLst>
            <pc:docMk/>
            <pc:sldMk cId="2400767374" sldId="438"/>
            <ac:spMk id="8" creationId="{A3D87BA1-E5AD-BAA6-F732-AB55C6942CE7}"/>
          </ac:spMkLst>
        </pc:spChg>
        <pc:spChg chg="add del mod">
          <ac:chgData name="Liam Morden" userId="93761272-e958-47bd-a047-5952229592b0" providerId="ADAL" clId="{1BDE6FCE-89A3-4A75-8540-53475B34D2FF}" dt="2024-12-02T20:11:45.872" v="8647" actId="478"/>
          <ac:spMkLst>
            <pc:docMk/>
            <pc:sldMk cId="2400767374" sldId="438"/>
            <ac:spMk id="13" creationId="{776BF66C-C152-FBD9-06CF-791246D04BCE}"/>
          </ac:spMkLst>
        </pc:spChg>
        <pc:graphicFrameChg chg="add del mod modGraphic">
          <ac:chgData name="Liam Morden" userId="93761272-e958-47bd-a047-5952229592b0" providerId="ADAL" clId="{1BDE6FCE-89A3-4A75-8540-53475B34D2FF}" dt="2024-12-02T00:59:35.581" v="7578" actId="478"/>
          <ac:graphicFrameMkLst>
            <pc:docMk/>
            <pc:sldMk cId="2400767374" sldId="438"/>
            <ac:graphicFrameMk id="9" creationId="{2B7AF296-1613-4DAD-D30B-7AE0C58CACEA}"/>
          </ac:graphicFrameMkLst>
        </pc:graphicFrameChg>
        <pc:graphicFrameChg chg="add del mod">
          <ac:chgData name="Liam Morden" userId="93761272-e958-47bd-a047-5952229592b0" providerId="ADAL" clId="{1BDE6FCE-89A3-4A75-8540-53475B34D2FF}" dt="2024-12-02T01:01:18.071" v="7584" actId="478"/>
          <ac:graphicFrameMkLst>
            <pc:docMk/>
            <pc:sldMk cId="2400767374" sldId="438"/>
            <ac:graphicFrameMk id="10" creationId="{34F1AD6E-FD8D-E078-98C6-9D9788E14EEB}"/>
          </ac:graphicFrameMkLst>
        </pc:graphicFrameChg>
        <pc:graphicFrameChg chg="add del mod">
          <ac:chgData name="Liam Morden" userId="93761272-e958-47bd-a047-5952229592b0" providerId="ADAL" clId="{1BDE6FCE-89A3-4A75-8540-53475B34D2FF}" dt="2024-12-02T01:01:19.221" v="7585" actId="478"/>
          <ac:graphicFrameMkLst>
            <pc:docMk/>
            <pc:sldMk cId="2400767374" sldId="438"/>
            <ac:graphicFrameMk id="11" creationId="{1DBF97C2-34B6-F0A0-1B65-C2ADB6836D5B}"/>
          </ac:graphicFrameMkLst>
        </pc:graphicFrameChg>
        <pc:graphicFrameChg chg="add del mod">
          <ac:chgData name="Liam Morden" userId="93761272-e958-47bd-a047-5952229592b0" providerId="ADAL" clId="{1BDE6FCE-89A3-4A75-8540-53475B34D2FF}" dt="2024-12-02T01:01:20.435" v="7586" actId="478"/>
          <ac:graphicFrameMkLst>
            <pc:docMk/>
            <pc:sldMk cId="2400767374" sldId="438"/>
            <ac:graphicFrameMk id="12" creationId="{B4FF64A6-225F-14C5-D8C7-BC9F56123918}"/>
          </ac:graphicFrameMkLst>
        </pc:graphicFrameChg>
        <pc:graphicFrameChg chg="add mod">
          <ac:chgData name="Liam Morden" userId="93761272-e958-47bd-a047-5952229592b0" providerId="ADAL" clId="{1BDE6FCE-89A3-4A75-8540-53475B34D2FF}" dt="2024-12-02T01:00:33.796" v="7579"/>
          <ac:graphicFrameMkLst>
            <pc:docMk/>
            <pc:sldMk cId="2400767374" sldId="438"/>
            <ac:graphicFrameMk id="14" creationId="{1C51AD7E-4F9F-3494-ACD8-E8A8532007FF}"/>
          </ac:graphicFrameMkLst>
        </pc:graphicFrameChg>
        <pc:graphicFrameChg chg="add mod modGraphic">
          <ac:chgData name="Liam Morden" userId="93761272-e958-47bd-a047-5952229592b0" providerId="ADAL" clId="{1BDE6FCE-89A3-4A75-8540-53475B34D2FF}" dt="2024-12-02T16:47:41.064" v="7836" actId="20577"/>
          <ac:graphicFrameMkLst>
            <pc:docMk/>
            <pc:sldMk cId="2400767374" sldId="438"/>
            <ac:graphicFrameMk id="15" creationId="{9B3A2610-B5D0-1EBD-C2E8-19C290E4838E}"/>
          </ac:graphicFrameMkLst>
        </pc:graphicFrameChg>
        <pc:graphicFrameChg chg="add mod">
          <ac:chgData name="Liam Morden" userId="93761272-e958-47bd-a047-5952229592b0" providerId="ADAL" clId="{1BDE6FCE-89A3-4A75-8540-53475B34D2FF}" dt="2024-12-02T01:01:21.050" v="7587"/>
          <ac:graphicFrameMkLst>
            <pc:docMk/>
            <pc:sldMk cId="2400767374" sldId="438"/>
            <ac:graphicFrameMk id="16" creationId="{F193CF4D-6507-732C-9FAC-267A3DCA27C5}"/>
          </ac:graphicFrameMkLst>
        </pc:graphicFrameChg>
        <pc:graphicFrameChg chg="add mod modGraphic">
          <ac:chgData name="Liam Morden" userId="93761272-e958-47bd-a047-5952229592b0" providerId="ADAL" clId="{1BDE6FCE-89A3-4A75-8540-53475B34D2FF}" dt="2024-12-02T01:03:09.482" v="7605" actId="14100"/>
          <ac:graphicFrameMkLst>
            <pc:docMk/>
            <pc:sldMk cId="2400767374" sldId="438"/>
            <ac:graphicFrameMk id="17" creationId="{7C01F457-68DF-297A-E354-F49F6E42B4F7}"/>
          </ac:graphicFrameMkLst>
        </pc:graphicFrameChg>
        <pc:graphicFrameChg chg="add mod modGraphic">
          <ac:chgData name="Liam Morden" userId="93761272-e958-47bd-a047-5952229592b0" providerId="ADAL" clId="{1BDE6FCE-89A3-4A75-8540-53475B34D2FF}" dt="2024-12-02T01:03:16.442" v="7608" actId="14100"/>
          <ac:graphicFrameMkLst>
            <pc:docMk/>
            <pc:sldMk cId="2400767374" sldId="438"/>
            <ac:graphicFrameMk id="18" creationId="{3B43950D-5840-79D2-8D31-233FF7BAAC97}"/>
          </ac:graphicFrameMkLst>
        </pc:graphicFrameChg>
        <pc:graphicFrameChg chg="add mod">
          <ac:chgData name="Liam Morden" userId="93761272-e958-47bd-a047-5952229592b0" providerId="ADAL" clId="{1BDE6FCE-89A3-4A75-8540-53475B34D2FF}" dt="2024-12-02T01:01:54.823" v="7593"/>
          <ac:graphicFrameMkLst>
            <pc:docMk/>
            <pc:sldMk cId="2400767374" sldId="438"/>
            <ac:graphicFrameMk id="19" creationId="{4C6D0A4E-274D-BA28-761A-2E1F1BF9ADBD}"/>
          </ac:graphicFrameMkLst>
        </pc:graphicFrameChg>
        <pc:graphicFrameChg chg="add mod modGraphic">
          <ac:chgData name="Liam Morden" userId="93761272-e958-47bd-a047-5952229592b0" providerId="ADAL" clId="{1BDE6FCE-89A3-4A75-8540-53475B34D2FF}" dt="2024-12-02T01:03:21.494" v="7610" actId="14100"/>
          <ac:graphicFrameMkLst>
            <pc:docMk/>
            <pc:sldMk cId="2400767374" sldId="438"/>
            <ac:graphicFrameMk id="20" creationId="{3A9ABFE3-2063-D41B-784D-B3179F72C0D8}"/>
          </ac:graphicFrameMkLst>
        </pc:graphicFrameChg>
      </pc:sldChg>
      <pc:sldChg chg="addSp delSp modSp new mod">
        <pc:chgData name="Liam Morden" userId="93761272-e958-47bd-a047-5952229592b0" providerId="ADAL" clId="{1BDE6FCE-89A3-4A75-8540-53475B34D2FF}" dt="2024-12-02T20:11:56.787" v="8653" actId="478"/>
        <pc:sldMkLst>
          <pc:docMk/>
          <pc:sldMk cId="1826148946" sldId="439"/>
        </pc:sldMkLst>
        <pc:spChg chg="mod">
          <ac:chgData name="Liam Morden" userId="93761272-e958-47bd-a047-5952229592b0" providerId="ADAL" clId="{1BDE6FCE-89A3-4A75-8540-53475B34D2FF}" dt="2024-12-02T20:02:27.878" v="8497"/>
          <ac:spMkLst>
            <pc:docMk/>
            <pc:sldMk cId="1826148946" sldId="439"/>
            <ac:spMk id="2" creationId="{BFE8CD02-0604-57EA-A604-157DB27BDD71}"/>
          </ac:spMkLst>
        </pc:spChg>
        <pc:spChg chg="mod">
          <ac:chgData name="Liam Morden" userId="93761272-e958-47bd-a047-5952229592b0" providerId="ADAL" clId="{1BDE6FCE-89A3-4A75-8540-53475B34D2FF}" dt="2024-12-02T16:50:31.838" v="7855" actId="20577"/>
          <ac:spMkLst>
            <pc:docMk/>
            <pc:sldMk cId="1826148946" sldId="439"/>
            <ac:spMk id="3" creationId="{32CED538-C9A5-1209-8596-C8E52F83246C}"/>
          </ac:spMkLst>
        </pc:spChg>
        <pc:spChg chg="mod">
          <ac:chgData name="Liam Morden" userId="93761272-e958-47bd-a047-5952229592b0" providerId="ADAL" clId="{1BDE6FCE-89A3-4A75-8540-53475B34D2FF}" dt="2024-12-02T16:50:36.035" v="7870" actId="20577"/>
          <ac:spMkLst>
            <pc:docMk/>
            <pc:sldMk cId="1826148946" sldId="439"/>
            <ac:spMk id="4" creationId="{5CB97DC4-EE55-89F8-ADEF-4C0405E806C7}"/>
          </ac:spMkLst>
        </pc:spChg>
        <pc:spChg chg="mod">
          <ac:chgData name="Liam Morden" userId="93761272-e958-47bd-a047-5952229592b0" providerId="ADAL" clId="{1BDE6FCE-89A3-4A75-8540-53475B34D2FF}" dt="2024-12-02T16:50:49.675" v="7915" actId="20577"/>
          <ac:spMkLst>
            <pc:docMk/>
            <pc:sldMk cId="1826148946" sldId="439"/>
            <ac:spMk id="5" creationId="{FC45F9DB-5E55-CC7D-3822-9D334CB4D30B}"/>
          </ac:spMkLst>
        </pc:spChg>
        <pc:spChg chg="del">
          <ac:chgData name="Liam Morden" userId="93761272-e958-47bd-a047-5952229592b0" providerId="ADAL" clId="{1BDE6FCE-89A3-4A75-8540-53475B34D2FF}" dt="2024-12-02T16:50:53.179" v="7917" actId="478"/>
          <ac:spMkLst>
            <pc:docMk/>
            <pc:sldMk cId="1826148946" sldId="439"/>
            <ac:spMk id="6" creationId="{888691F7-A15E-BEFB-9565-98A37DEC9CF6}"/>
          </ac:spMkLst>
        </pc:spChg>
        <pc:spChg chg="mod">
          <ac:chgData name="Liam Morden" userId="93761272-e958-47bd-a047-5952229592b0" providerId="ADAL" clId="{1BDE6FCE-89A3-4A75-8540-53475B34D2FF}" dt="2024-12-02T16:50:43.112" v="7897" actId="20577"/>
          <ac:spMkLst>
            <pc:docMk/>
            <pc:sldMk cId="1826148946" sldId="439"/>
            <ac:spMk id="7" creationId="{231B76B0-BF5A-5400-406F-C1EB36BE1026}"/>
          </ac:spMkLst>
        </pc:spChg>
        <pc:spChg chg="del">
          <ac:chgData name="Liam Morden" userId="93761272-e958-47bd-a047-5952229592b0" providerId="ADAL" clId="{1BDE6FCE-89A3-4A75-8540-53475B34D2FF}" dt="2024-12-02T16:50:52.084" v="7916" actId="478"/>
          <ac:spMkLst>
            <pc:docMk/>
            <pc:sldMk cId="1826148946" sldId="439"/>
            <ac:spMk id="8" creationId="{52FBCB90-B21C-239B-01FA-3B5579284901}"/>
          </ac:spMkLst>
        </pc:spChg>
        <pc:spChg chg="add del mod">
          <ac:chgData name="Liam Morden" userId="93761272-e958-47bd-a047-5952229592b0" providerId="ADAL" clId="{1BDE6FCE-89A3-4A75-8540-53475B34D2FF}" dt="2024-12-02T20:11:56.787" v="8653" actId="478"/>
          <ac:spMkLst>
            <pc:docMk/>
            <pc:sldMk cId="1826148946" sldId="439"/>
            <ac:spMk id="9" creationId="{ADB80717-AD3C-207B-976F-B1658CD9B91A}"/>
          </ac:spMkLst>
        </pc:spChg>
        <pc:graphicFrameChg chg="add mod modGraphic">
          <ac:chgData name="Liam Morden" userId="93761272-e958-47bd-a047-5952229592b0" providerId="ADAL" clId="{1BDE6FCE-89A3-4A75-8540-53475B34D2FF}" dt="2024-12-02T16:52:16.533" v="7922"/>
          <ac:graphicFrameMkLst>
            <pc:docMk/>
            <pc:sldMk cId="1826148946" sldId="439"/>
            <ac:graphicFrameMk id="10" creationId="{3BC32506-B8CE-C94D-147F-FCFD062287AD}"/>
          </ac:graphicFrameMkLst>
        </pc:graphicFrameChg>
        <pc:graphicFrameChg chg="add mod modGraphic">
          <ac:chgData name="Liam Morden" userId="93761272-e958-47bd-a047-5952229592b0" providerId="ADAL" clId="{1BDE6FCE-89A3-4A75-8540-53475B34D2FF}" dt="2024-12-02T16:52:38.318" v="7926"/>
          <ac:graphicFrameMkLst>
            <pc:docMk/>
            <pc:sldMk cId="1826148946" sldId="439"/>
            <ac:graphicFrameMk id="11" creationId="{EE2A2B2C-B36E-D8C9-5AD4-1CD5D7020D55}"/>
          </ac:graphicFrameMkLst>
        </pc:graphicFrameChg>
      </pc:sldChg>
      <pc:sldMasterChg chg="addSldLayout">
        <pc:chgData name="Liam Morden" userId="93761272-e958-47bd-a047-5952229592b0" providerId="ADAL" clId="{1BDE6FCE-89A3-4A75-8540-53475B34D2FF}" dt="2024-12-01T05:13:19.055" v="4803" actId="27028"/>
        <pc:sldMasterMkLst>
          <pc:docMk/>
          <pc:sldMasterMk cId="108896749" sldId="2147483694"/>
        </pc:sldMasterMkLst>
        <pc:sldLayoutChg chg="add">
          <pc:chgData name="Liam Morden" userId="93761272-e958-47bd-a047-5952229592b0" providerId="ADAL" clId="{1BDE6FCE-89A3-4A75-8540-53475B34D2FF}" dt="2024-12-01T05:13:19.055" v="4803" actId="27028"/>
          <pc:sldLayoutMkLst>
            <pc:docMk/>
            <pc:sldMasterMk cId="108896749" sldId="2147483694"/>
            <pc:sldLayoutMk cId="1516031984" sldId="2147483699"/>
          </pc:sldLayoutMkLst>
        </pc:sldLayoutChg>
        <pc:sldLayoutChg chg="add">
          <pc:chgData name="Liam Morden" userId="93761272-e958-47bd-a047-5952229592b0" providerId="ADAL" clId="{1BDE6FCE-89A3-4A75-8540-53475B34D2FF}" dt="2024-11-27T19:48:04.719" v="542" actId="27028"/>
          <pc:sldLayoutMkLst>
            <pc:docMk/>
            <pc:sldMasterMk cId="108896749" sldId="2147483694"/>
            <pc:sldLayoutMk cId="2977562269" sldId="2147483704"/>
          </pc:sldLayoutMkLst>
        </pc:sldLayoutChg>
      </pc:sldMasterChg>
      <pc:sldMasterChg chg="addSldLayout">
        <pc:chgData name="Liam Morden" userId="93761272-e958-47bd-a047-5952229592b0" providerId="ADAL" clId="{1BDE6FCE-89A3-4A75-8540-53475B34D2FF}" dt="2024-11-29T18:37:23.217" v="1494" actId="27028"/>
        <pc:sldMasterMkLst>
          <pc:docMk/>
          <pc:sldMasterMk cId="108896749" sldId="2147483698"/>
        </pc:sldMasterMkLst>
        <pc:sldLayoutChg chg="add">
          <pc:chgData name="Liam Morden" userId="93761272-e958-47bd-a047-5952229592b0" providerId="ADAL" clId="{1BDE6FCE-89A3-4A75-8540-53475B34D2FF}" dt="2024-11-29T18:36:59.500" v="1492" actId="27028"/>
          <pc:sldLayoutMkLst>
            <pc:docMk/>
            <pc:sldMasterMk cId="108896749" sldId="2147483698"/>
            <pc:sldLayoutMk cId="2977562269" sldId="2147483705"/>
          </pc:sldLayoutMkLst>
        </pc:sldLayoutChg>
        <pc:sldLayoutChg chg="add">
          <pc:chgData name="Liam Morden" userId="93761272-e958-47bd-a047-5952229592b0" providerId="ADAL" clId="{1BDE6FCE-89A3-4A75-8540-53475B34D2FF}" dt="2024-11-29T18:37:23.217" v="1494" actId="27028"/>
          <pc:sldLayoutMkLst>
            <pc:docMk/>
            <pc:sldMasterMk cId="108896749" sldId="2147483698"/>
            <pc:sldLayoutMk cId="4155466815" sldId="2147483706"/>
          </pc:sldLayoutMkLst>
        </pc:sldLayoutChg>
      </pc:sldMasterChg>
      <pc:sldMasterChg chg="modSldLayout">
        <pc:chgData name="Liam Morden" userId="93761272-e958-47bd-a047-5952229592b0" providerId="ADAL" clId="{1BDE6FCE-89A3-4A75-8540-53475B34D2FF}" dt="2024-12-01T05:13:19.055" v="4803" actId="27028"/>
        <pc:sldMasterMkLst>
          <pc:docMk/>
          <pc:sldMasterMk cId="108896749" sldId="2147483700"/>
        </pc:sldMasterMkLst>
        <pc:sldLayoutChg chg="replId">
          <pc:chgData name="Liam Morden" userId="93761272-e958-47bd-a047-5952229592b0" providerId="ADAL" clId="{1BDE6FCE-89A3-4A75-8540-53475B34D2FF}" dt="2024-12-01T05:13:19.055" v="4803" actId="27028"/>
          <pc:sldLayoutMkLst>
            <pc:docMk/>
            <pc:sldMasterMk cId="108896749" sldId="2147483700"/>
            <pc:sldLayoutMk cId="3885629154" sldId="2147483707"/>
          </pc:sldLayoutMkLst>
        </pc:sldLayoutChg>
      </pc:sldMasterChg>
      <pc:sldMasterChg chg="addSldLayout">
        <pc:chgData name="Liam Morden" userId="93761272-e958-47bd-a047-5952229592b0" providerId="ADAL" clId="{1BDE6FCE-89A3-4A75-8540-53475B34D2FF}" dt="2024-11-17T20:31:40.870" v="77" actId="27028"/>
        <pc:sldMasterMkLst>
          <pc:docMk/>
          <pc:sldMasterMk cId="108896749" sldId="2147483701"/>
        </pc:sldMasterMkLst>
        <pc:sldLayoutChg chg="add">
          <pc:chgData name="Liam Morden" userId="93761272-e958-47bd-a047-5952229592b0" providerId="ADAL" clId="{1BDE6FCE-89A3-4A75-8540-53475B34D2FF}" dt="2024-11-17T20:31:40.870" v="77" actId="27028"/>
          <pc:sldLayoutMkLst>
            <pc:docMk/>
            <pc:sldMasterMk cId="108896749" sldId="2147483701"/>
            <pc:sldLayoutMk cId="1221552074" sldId="2147483703"/>
          </pc:sldLayoutMkLst>
        </pc:sldLayoutChg>
      </pc:sldMasterChg>
    </pc:docChg>
  </pc:docChgLst>
  <pc:docChgLst>
    <pc:chgData name="Liam Morden" userId="S::lmord071@uottawa.ca::93761272-e958-47bd-a047-5952229592b0" providerId="AD" clId="Web-{75BFCC99-AF62-DB19-1C3E-A396C894F159}"/>
    <pc:docChg chg="addSld modSld addMainMaster modMainMaster">
      <pc:chgData name="Liam Morden" userId="S::lmord071@uottawa.ca::93761272-e958-47bd-a047-5952229592b0" providerId="AD" clId="Web-{75BFCC99-AF62-DB19-1C3E-A396C894F159}" dt="2024-10-23T22:42:07.746" v="103" actId="1076"/>
      <pc:docMkLst>
        <pc:docMk/>
      </pc:docMkLst>
      <pc:sldChg chg="addSp delSp modSp">
        <pc:chgData name="Liam Morden" userId="S::lmord071@uottawa.ca::93761272-e958-47bd-a047-5952229592b0" providerId="AD" clId="Web-{75BFCC99-AF62-DB19-1C3E-A396C894F159}" dt="2024-10-23T22:42:07.746" v="103" actId="1076"/>
        <pc:sldMkLst>
          <pc:docMk/>
          <pc:sldMk cId="4176733920" sldId="257"/>
        </pc:sldMkLst>
      </pc:sldChg>
      <pc:sldChg chg="modSp">
        <pc:chgData name="Liam Morden" userId="S::lmord071@uottawa.ca::93761272-e958-47bd-a047-5952229592b0" providerId="AD" clId="Web-{75BFCC99-AF62-DB19-1C3E-A396C894F159}" dt="2024-10-23T22:41:06.166" v="93"/>
        <pc:sldMkLst>
          <pc:docMk/>
          <pc:sldMk cId="4028445805" sldId="258"/>
        </pc:sldMkLst>
        <pc:graphicFrameChg chg="mod modGraphic">
          <ac:chgData name="Liam Morden" userId="S::lmord071@uottawa.ca::93761272-e958-47bd-a047-5952229592b0" providerId="AD" clId="Web-{75BFCC99-AF62-DB19-1C3E-A396C894F159}" dt="2024-10-23T22:40:38.853" v="85"/>
          <ac:graphicFrameMkLst>
            <pc:docMk/>
            <pc:sldMk cId="4028445805" sldId="258"/>
            <ac:graphicFrameMk id="28" creationId="{12D60DE0-F191-BA4C-B982-0B01A910E199}"/>
          </ac:graphicFrameMkLst>
        </pc:graphicFrameChg>
        <pc:graphicFrameChg chg="mod modGraphic">
          <ac:chgData name="Liam Morden" userId="S::lmord071@uottawa.ca::93761272-e958-47bd-a047-5952229592b0" providerId="AD" clId="Web-{75BFCC99-AF62-DB19-1C3E-A396C894F159}" dt="2024-10-23T22:41:06.166" v="93"/>
          <ac:graphicFrameMkLst>
            <pc:docMk/>
            <pc:sldMk cId="4028445805" sldId="258"/>
            <ac:graphicFrameMk id="29" creationId="{BE26A4F8-346C-386A-BB32-BC75C819D99B}"/>
          </ac:graphicFrameMkLst>
        </pc:graphicFrameChg>
        <pc:graphicFrameChg chg="mod modGraphic">
          <ac:chgData name="Liam Morden" userId="S::lmord071@uottawa.ca::93761272-e958-47bd-a047-5952229592b0" providerId="AD" clId="Web-{75BFCC99-AF62-DB19-1C3E-A396C894F159}" dt="2024-10-23T22:40:58.885" v="91"/>
          <ac:graphicFrameMkLst>
            <pc:docMk/>
            <pc:sldMk cId="4028445805" sldId="258"/>
            <ac:graphicFrameMk id="30" creationId="{B193158D-0499-7DE8-C232-7084B7490925}"/>
          </ac:graphicFrameMkLst>
        </pc:graphicFrameChg>
      </pc:sldChg>
      <pc:sldChg chg="addSp delSp modSp add">
        <pc:chgData name="Liam Morden" userId="S::lmord071@uottawa.ca::93761272-e958-47bd-a047-5952229592b0" providerId="AD" clId="Web-{75BFCC99-AF62-DB19-1C3E-A396C894F159}" dt="2024-10-23T22:22:37.313" v="73"/>
        <pc:sldMkLst>
          <pc:docMk/>
          <pc:sldMk cId="4052889244" sldId="271"/>
        </pc:sldMkLst>
      </pc:sldChg>
      <pc:sldMasterChg chg="add addSldLayout">
        <pc:chgData name="Liam Morden" userId="S::lmord071@uottawa.ca::93761272-e958-47bd-a047-5952229592b0" providerId="AD" clId="Web-{75BFCC99-AF62-DB19-1C3E-A396C894F159}" dt="2024-10-23T22:19:33.855" v="0"/>
        <pc:sldMasterMkLst>
          <pc:docMk/>
          <pc:sldMasterMk cId="108896749" sldId="2147483698"/>
        </pc:sldMasterMkLst>
        <pc:sldLayoutChg chg="add">
          <pc:chgData name="Liam Morden" userId="S::lmord071@uottawa.ca::93761272-e958-47bd-a047-5952229592b0" providerId="AD" clId="Web-{75BFCC99-AF62-DB19-1C3E-A396C894F159}" dt="2024-10-23T22:19:33.855" v="0"/>
          <pc:sldLayoutMkLst>
            <pc:docMk/>
            <pc:sldMasterMk cId="108896749" sldId="2147483698"/>
            <pc:sldLayoutMk cId="3584905437" sldId="2147483696"/>
          </pc:sldLayoutMkLst>
        </pc:sldLayoutChg>
      </pc:sldMasterChg>
      <pc:sldMasterChg chg="replId">
        <pc:chgData name="Liam Morden" userId="S::lmord071@uottawa.ca::93761272-e958-47bd-a047-5952229592b0" providerId="AD" clId="Web-{75BFCC99-AF62-DB19-1C3E-A396C894F159}" dt="2024-10-23T22:19:33.855" v="0"/>
        <pc:sldMasterMkLst>
          <pc:docMk/>
          <pc:sldMasterMk cId="108896749" sldId="2147483701"/>
        </pc:sldMasterMkLst>
      </pc:sldMasterChg>
    </pc:docChg>
  </pc:docChgLst>
  <pc:docChgLst>
    <pc:chgData name="Arman Bazarjani" userId="450e03ee-301b-4aeb-9e35-1d972aec6f7b" providerId="ADAL" clId="{7085E35E-4A2A-4F2F-BC27-E93A2ADB74F0}"/>
    <pc:docChg chg="undo custSel addSld modSld">
      <pc:chgData name="Arman Bazarjani" userId="450e03ee-301b-4aeb-9e35-1d972aec6f7b" providerId="ADAL" clId="{7085E35E-4A2A-4F2F-BC27-E93A2ADB74F0}" dt="2024-12-01T21:34:14.352" v="105" actId="14734"/>
      <pc:docMkLst>
        <pc:docMk/>
      </pc:docMkLst>
      <pc:sldChg chg="addSp modSp add mod">
        <pc:chgData name="Arman Bazarjani" userId="450e03ee-301b-4aeb-9e35-1d972aec6f7b" providerId="ADAL" clId="{7085E35E-4A2A-4F2F-BC27-E93A2ADB74F0}" dt="2024-12-01T21:11:01.650" v="85" actId="255"/>
        <pc:sldMkLst>
          <pc:docMk/>
          <pc:sldMk cId="2223519660" sldId="411"/>
        </pc:sldMkLst>
        <pc:spChg chg="add mod">
          <ac:chgData name="Arman Bazarjani" userId="450e03ee-301b-4aeb-9e35-1d972aec6f7b" providerId="ADAL" clId="{7085E35E-4A2A-4F2F-BC27-E93A2ADB74F0}" dt="2024-11-29T00:55:28.613" v="84" actId="1076"/>
          <ac:spMkLst>
            <pc:docMk/>
            <pc:sldMk cId="2223519660" sldId="411"/>
            <ac:spMk id="3" creationId="{3CF60375-AD5D-8587-5890-C4EB43AFE485}"/>
          </ac:spMkLst>
        </pc:spChg>
        <pc:spChg chg="mod">
          <ac:chgData name="Arman Bazarjani" userId="450e03ee-301b-4aeb-9e35-1d972aec6f7b" providerId="ADAL" clId="{7085E35E-4A2A-4F2F-BC27-E93A2ADB74F0}" dt="2024-12-01T21:11:01.650" v="85" actId="255"/>
          <ac:spMkLst>
            <pc:docMk/>
            <pc:sldMk cId="2223519660" sldId="411"/>
            <ac:spMk id="15" creationId="{C48A4E1E-E808-D5A5-9D33-88CA8F60389A}"/>
          </ac:spMkLst>
        </pc:spChg>
        <pc:graphicFrameChg chg="modGraphic">
          <ac:chgData name="Arman Bazarjani" userId="450e03ee-301b-4aeb-9e35-1d972aec6f7b" providerId="ADAL" clId="{7085E35E-4A2A-4F2F-BC27-E93A2ADB74F0}" dt="2024-11-29T00:55:08.401" v="81" actId="255"/>
          <ac:graphicFrameMkLst>
            <pc:docMk/>
            <pc:sldMk cId="2223519660" sldId="411"/>
            <ac:graphicFrameMk id="16" creationId="{A82EBC3B-F382-CF82-4DA1-58249EE21F89}"/>
          </ac:graphicFrameMkLst>
        </pc:graphicFrameChg>
      </pc:sldChg>
      <pc:sldChg chg="modSp mod">
        <pc:chgData name="Arman Bazarjani" userId="450e03ee-301b-4aeb-9e35-1d972aec6f7b" providerId="ADAL" clId="{7085E35E-4A2A-4F2F-BC27-E93A2ADB74F0}" dt="2024-12-01T21:32:31.732" v="90" actId="207"/>
        <pc:sldMkLst>
          <pc:docMk/>
          <pc:sldMk cId="1746350796" sldId="412"/>
        </pc:sldMkLst>
        <pc:graphicFrameChg chg="modGraphic">
          <ac:chgData name="Arman Bazarjani" userId="450e03ee-301b-4aeb-9e35-1d972aec6f7b" providerId="ADAL" clId="{7085E35E-4A2A-4F2F-BC27-E93A2ADB74F0}" dt="2024-12-01T21:32:31.732" v="90" actId="207"/>
          <ac:graphicFrameMkLst>
            <pc:docMk/>
            <pc:sldMk cId="1746350796" sldId="412"/>
            <ac:graphicFrameMk id="14" creationId="{BC467EAD-B1D9-A154-6C54-AFB46CB7C449}"/>
          </ac:graphicFrameMkLst>
        </pc:graphicFrameChg>
      </pc:sldChg>
      <pc:sldChg chg="modSp mod">
        <pc:chgData name="Arman Bazarjani" userId="450e03ee-301b-4aeb-9e35-1d972aec6f7b" providerId="ADAL" clId="{7085E35E-4A2A-4F2F-BC27-E93A2ADB74F0}" dt="2024-12-01T21:33:34.799" v="97" actId="14100"/>
        <pc:sldMkLst>
          <pc:docMk/>
          <pc:sldMk cId="446537790" sldId="423"/>
        </pc:sldMkLst>
        <pc:graphicFrameChg chg="mod modGraphic">
          <ac:chgData name="Arman Bazarjani" userId="450e03ee-301b-4aeb-9e35-1d972aec6f7b" providerId="ADAL" clId="{7085E35E-4A2A-4F2F-BC27-E93A2ADB74F0}" dt="2024-12-01T21:33:34.799" v="97" actId="14100"/>
          <ac:graphicFrameMkLst>
            <pc:docMk/>
            <pc:sldMk cId="446537790" sldId="423"/>
            <ac:graphicFrameMk id="9" creationId="{D9581ED3-B3FC-AEAC-66ED-B2DEFB672A9E}"/>
          </ac:graphicFrameMkLst>
        </pc:graphicFrameChg>
      </pc:sldChg>
      <pc:sldChg chg="modSp mod">
        <pc:chgData name="Arman Bazarjani" userId="450e03ee-301b-4aeb-9e35-1d972aec6f7b" providerId="ADAL" clId="{7085E35E-4A2A-4F2F-BC27-E93A2ADB74F0}" dt="2024-12-01T21:34:14.352" v="105" actId="14734"/>
        <pc:sldMkLst>
          <pc:docMk/>
          <pc:sldMk cId="3568635743" sldId="424"/>
        </pc:sldMkLst>
        <pc:graphicFrameChg chg="mod modGraphic">
          <ac:chgData name="Arman Bazarjani" userId="450e03ee-301b-4aeb-9e35-1d972aec6f7b" providerId="ADAL" clId="{7085E35E-4A2A-4F2F-BC27-E93A2ADB74F0}" dt="2024-12-01T21:34:14.352" v="105" actId="14734"/>
          <ac:graphicFrameMkLst>
            <pc:docMk/>
            <pc:sldMk cId="3568635743" sldId="424"/>
            <ac:graphicFrameMk id="7" creationId="{3FB517AD-A18A-AFA0-61A2-21A9CE5A948A}"/>
          </ac:graphicFrameMkLst>
        </pc:graphicFrameChg>
      </pc:sldChg>
      <pc:sldChg chg="modSp mod">
        <pc:chgData name="Arman Bazarjani" userId="450e03ee-301b-4aeb-9e35-1d972aec6f7b" providerId="ADAL" clId="{7085E35E-4A2A-4F2F-BC27-E93A2ADB74F0}" dt="2024-12-01T21:13:38.559" v="87" actId="20578"/>
        <pc:sldMkLst>
          <pc:docMk/>
          <pc:sldMk cId="1638840574" sldId="432"/>
        </pc:sldMkLst>
        <pc:spChg chg="mod">
          <ac:chgData name="Arman Bazarjani" userId="450e03ee-301b-4aeb-9e35-1d972aec6f7b" providerId="ADAL" clId="{7085E35E-4A2A-4F2F-BC27-E93A2ADB74F0}" dt="2024-12-01T21:13:38.559" v="87" actId="20578"/>
          <ac:spMkLst>
            <pc:docMk/>
            <pc:sldMk cId="1638840574" sldId="432"/>
            <ac:spMk id="10" creationId="{0F58E024-7634-078E-C694-BF84CCA6344F}"/>
          </ac:spMkLst>
        </pc:spChg>
        <pc:graphicFrameChg chg="mod">
          <ac:chgData name="Arman Bazarjani" userId="450e03ee-301b-4aeb-9e35-1d972aec6f7b" providerId="ADAL" clId="{7085E35E-4A2A-4F2F-BC27-E93A2ADB74F0}" dt="2024-12-01T21:12:53.054" v="86" actId="14100"/>
          <ac:graphicFrameMkLst>
            <pc:docMk/>
            <pc:sldMk cId="1638840574" sldId="432"/>
            <ac:graphicFrameMk id="20" creationId="{08A0144E-9A8B-9401-1019-4F6F79DE1712}"/>
          </ac:graphicFrameMkLst>
        </pc:graphicFrameChg>
      </pc:sldChg>
      <pc:sldChg chg="modSp mod">
        <pc:chgData name="Arman Bazarjani" userId="450e03ee-301b-4aeb-9e35-1d972aec6f7b" providerId="ADAL" clId="{7085E35E-4A2A-4F2F-BC27-E93A2ADB74F0}" dt="2024-12-01T21:26:07.851" v="89" actId="1076"/>
        <pc:sldMkLst>
          <pc:docMk/>
          <pc:sldMk cId="1839031691" sldId="433"/>
        </pc:sldMkLst>
        <pc:spChg chg="mod">
          <ac:chgData name="Arman Bazarjani" userId="450e03ee-301b-4aeb-9e35-1d972aec6f7b" providerId="ADAL" clId="{7085E35E-4A2A-4F2F-BC27-E93A2ADB74F0}" dt="2024-12-01T21:26:07.851" v="89" actId="1076"/>
          <ac:spMkLst>
            <pc:docMk/>
            <pc:sldMk cId="1839031691" sldId="433"/>
            <ac:spMk id="16" creationId="{B596C415-5B78-88F1-9010-E92CDCB78DD5}"/>
          </ac:spMkLst>
        </pc:spChg>
      </pc:sldChg>
    </pc:docChg>
  </pc:docChgLst>
  <pc:docChgLst>
    <pc:chgData name="Sofia Paravan" userId="S::spara093@uottawa.ca::416f5510-1340-4ca8-9659-43f0fa8f07c1" providerId="AD" clId="Web-{D8E96C87-6B03-445C-2F06-C9EF17FE2B23}"/>
    <pc:docChg chg="addSld delSld modSld">
      <pc:chgData name="Sofia Paravan" userId="S::spara093@uottawa.ca::416f5510-1340-4ca8-9659-43f0fa8f07c1" providerId="AD" clId="Web-{D8E96C87-6B03-445C-2F06-C9EF17FE2B23}" dt="2024-11-30T06:29:20.087" v="14" actId="14100"/>
      <pc:docMkLst>
        <pc:docMk/>
      </pc:docMkLst>
      <pc:sldChg chg="addSp delSp modSp add del">
        <pc:chgData name="Sofia Paravan" userId="S::spara093@uottawa.ca::416f5510-1340-4ca8-9659-43f0fa8f07c1" providerId="AD" clId="Web-{D8E96C87-6B03-445C-2F06-C9EF17FE2B23}" dt="2024-11-30T06:29:20.087" v="14" actId="14100"/>
        <pc:sldMkLst>
          <pc:docMk/>
          <pc:sldMk cId="3348576610" sldId="282"/>
        </pc:sldMkLst>
        <pc:spChg chg="del">
          <ac:chgData name="Sofia Paravan" userId="S::spara093@uottawa.ca::416f5510-1340-4ca8-9659-43f0fa8f07c1" providerId="AD" clId="Web-{D8E96C87-6B03-445C-2F06-C9EF17FE2B23}" dt="2024-11-30T06:12:53.010" v="0"/>
          <ac:spMkLst>
            <pc:docMk/>
            <pc:sldMk cId="3348576610" sldId="282"/>
            <ac:spMk id="6" creationId="{6A03A3BF-C076-8BEF-DEFB-015EB8F5D230}"/>
          </ac:spMkLst>
        </pc:spChg>
        <pc:spChg chg="del">
          <ac:chgData name="Sofia Paravan" userId="S::spara093@uottawa.ca::416f5510-1340-4ca8-9659-43f0fa8f07c1" providerId="AD" clId="Web-{D8E96C87-6B03-445C-2F06-C9EF17FE2B23}" dt="2024-11-30T06:25:47.144" v="5"/>
          <ac:spMkLst>
            <pc:docMk/>
            <pc:sldMk cId="3348576610" sldId="282"/>
            <ac:spMk id="9" creationId="{B72EBF86-1CD3-2D7D-F875-48AA845289C3}"/>
          </ac:spMkLst>
        </pc:spChg>
        <pc:spChg chg="add del">
          <ac:chgData name="Sofia Paravan" userId="S::spara093@uottawa.ca::416f5510-1340-4ca8-9659-43f0fa8f07c1" providerId="AD" clId="Web-{D8E96C87-6B03-445C-2F06-C9EF17FE2B23}" dt="2024-11-30T06:28:58.680" v="10"/>
          <ac:spMkLst>
            <pc:docMk/>
            <pc:sldMk cId="3348576610" sldId="282"/>
            <ac:spMk id="11" creationId="{7AAC725E-2456-3D37-1C5E-79B548FB9F89}"/>
          </ac:spMkLst>
        </pc:spChg>
        <pc:spChg chg="add del mod">
          <ac:chgData name="Sofia Paravan" userId="S::spara093@uottawa.ca::416f5510-1340-4ca8-9659-43f0fa8f07c1" providerId="AD" clId="Web-{D8E96C87-6B03-445C-2F06-C9EF17FE2B23}" dt="2024-11-30T06:29:02.180" v="11"/>
          <ac:spMkLst>
            <pc:docMk/>
            <pc:sldMk cId="3348576610" sldId="282"/>
            <ac:spMk id="16" creationId="{075C4DFC-9D17-A38E-0511-1F3DA5477AAF}"/>
          </ac:spMkLst>
        </pc:spChg>
        <pc:picChg chg="add del mod ord">
          <ac:chgData name="Sofia Paravan" userId="S::spara093@uottawa.ca::416f5510-1340-4ca8-9659-43f0fa8f07c1" providerId="AD" clId="Web-{D8E96C87-6B03-445C-2F06-C9EF17FE2B23}" dt="2024-11-30T06:28:48.602" v="8"/>
          <ac:picMkLst>
            <pc:docMk/>
            <pc:sldMk cId="3348576610" sldId="282"/>
            <ac:picMk id="13" creationId="{41BE996C-5EED-5232-FCC9-DF1E9CE24B12}"/>
          </ac:picMkLst>
        </pc:picChg>
        <pc:picChg chg="add mod ord">
          <ac:chgData name="Sofia Paravan" userId="S::spara093@uottawa.ca::416f5510-1340-4ca8-9659-43f0fa8f07c1" providerId="AD" clId="Web-{D8E96C87-6B03-445C-2F06-C9EF17FE2B23}" dt="2024-11-30T06:26:00.191" v="7" actId="14100"/>
          <ac:picMkLst>
            <pc:docMk/>
            <pc:sldMk cId="3348576610" sldId="282"/>
            <ac:picMk id="14" creationId="{05169DA3-F664-960F-CF4F-390EF3B14054}"/>
          </ac:picMkLst>
        </pc:picChg>
        <pc:picChg chg="add del mod ord">
          <ac:chgData name="Sofia Paravan" userId="S::spara093@uottawa.ca::416f5510-1340-4ca8-9659-43f0fa8f07c1" providerId="AD" clId="Web-{D8E96C87-6B03-445C-2F06-C9EF17FE2B23}" dt="2024-11-30T06:28:58.680" v="10"/>
          <ac:picMkLst>
            <pc:docMk/>
            <pc:sldMk cId="3348576610" sldId="282"/>
            <ac:picMk id="17" creationId="{CB2C8140-8696-0545-EDC6-FBD01C04EC7E}"/>
          </ac:picMkLst>
        </pc:picChg>
        <pc:picChg chg="add mod ord">
          <ac:chgData name="Sofia Paravan" userId="S::spara093@uottawa.ca::416f5510-1340-4ca8-9659-43f0fa8f07c1" providerId="AD" clId="Web-{D8E96C87-6B03-445C-2F06-C9EF17FE2B23}" dt="2024-11-30T06:29:20.087" v="14" actId="14100"/>
          <ac:picMkLst>
            <pc:docMk/>
            <pc:sldMk cId="3348576610" sldId="282"/>
            <ac:picMk id="18" creationId="{798E6BA9-51E9-1FBD-624A-24063AE42B50}"/>
          </ac:picMkLst>
        </pc:picChg>
      </pc:sldChg>
    </pc:docChg>
  </pc:docChgLst>
  <pc:docChgLst>
    <pc:chgData name="Sofia Paravan" userId="S::spara093@uottawa.ca::416f5510-1340-4ca8-9659-43f0fa8f07c1" providerId="AD" clId="Web-{65CEF32D-6BE3-00D4-75C8-C79F1793022C}"/>
    <pc:docChg chg="modSld">
      <pc:chgData name="Sofia Paravan" userId="S::spara093@uottawa.ca::416f5510-1340-4ca8-9659-43f0fa8f07c1" providerId="AD" clId="Web-{65CEF32D-6BE3-00D4-75C8-C79F1793022C}" dt="2024-11-30T18:54:11.695" v="3" actId="20577"/>
      <pc:docMkLst>
        <pc:docMk/>
      </pc:docMkLst>
      <pc:sldChg chg="addSp delSp modSp">
        <pc:chgData name="Sofia Paravan" userId="S::spara093@uottawa.ca::416f5510-1340-4ca8-9659-43f0fa8f07c1" providerId="AD" clId="Web-{65CEF32D-6BE3-00D4-75C8-C79F1793022C}" dt="2024-11-30T18:54:11.695" v="3" actId="20577"/>
        <pc:sldMkLst>
          <pc:docMk/>
          <pc:sldMk cId="175464426" sldId="274"/>
        </pc:sldMkLst>
        <pc:spChg chg="mod">
          <ac:chgData name="Sofia Paravan" userId="S::spara093@uottawa.ca::416f5510-1340-4ca8-9659-43f0fa8f07c1" providerId="AD" clId="Web-{65CEF32D-6BE3-00D4-75C8-C79F1793022C}" dt="2024-11-30T18:54:03.492" v="1" actId="20577"/>
          <ac:spMkLst>
            <pc:docMk/>
            <pc:sldMk cId="175464426" sldId="274"/>
            <ac:spMk id="12" creationId="{9D63636F-873D-2562-E262-9741909FE9E0}"/>
          </ac:spMkLst>
        </pc:spChg>
        <pc:spChg chg="mod">
          <ac:chgData name="Sofia Paravan" userId="S::spara093@uottawa.ca::416f5510-1340-4ca8-9659-43f0fa8f07c1" providerId="AD" clId="Web-{65CEF32D-6BE3-00D4-75C8-C79F1793022C}" dt="2024-11-30T18:54:11.695" v="3" actId="20577"/>
          <ac:spMkLst>
            <pc:docMk/>
            <pc:sldMk cId="175464426" sldId="274"/>
            <ac:spMk id="15" creationId="{03F6BD32-4A23-54E3-7924-C4B02AFA902E}"/>
          </ac:spMkLst>
        </pc:spChg>
        <pc:spChg chg="del">
          <ac:chgData name="Sofia Paravan" userId="S::spara093@uottawa.ca::416f5510-1340-4ca8-9659-43f0fa8f07c1" providerId="AD" clId="Web-{65CEF32D-6BE3-00D4-75C8-C79F1793022C}" dt="2024-11-30T18:49:20.769" v="0"/>
          <ac:spMkLst>
            <pc:docMk/>
            <pc:sldMk cId="175464426" sldId="274"/>
            <ac:spMk id="19" creationId="{83D61FE8-E667-6143-0738-F694BA05D422}"/>
          </ac:spMkLst>
        </pc:spChg>
        <pc:picChg chg="add mod ord">
          <ac:chgData name="Sofia Paravan" userId="S::spara093@uottawa.ca::416f5510-1340-4ca8-9659-43f0fa8f07c1" providerId="AD" clId="Web-{65CEF32D-6BE3-00D4-75C8-C79F1793022C}" dt="2024-11-30T18:49:20.769" v="0"/>
          <ac:picMkLst>
            <pc:docMk/>
            <pc:sldMk cId="175464426" sldId="274"/>
            <ac:picMk id="9" creationId="{EDA25041-2166-AFDF-E9CE-9C3DE679B4F5}"/>
          </ac:picMkLst>
        </pc:picChg>
      </pc:sldChg>
    </pc:docChg>
  </pc:docChgLst>
  <pc:docChgLst>
    <pc:chgData name="Liam Morden" userId="S::lmord071@uottawa.ca::93761272-e958-47bd-a047-5952229592b0" providerId="AD" clId="Web-{10EC3A06-6EB9-F6C4-00E3-C131B10C45D1}"/>
    <pc:docChg chg="modSld">
      <pc:chgData name="Liam Morden" userId="S::lmord071@uottawa.ca::93761272-e958-47bd-a047-5952229592b0" providerId="AD" clId="Web-{10EC3A06-6EB9-F6C4-00E3-C131B10C45D1}" dt="2024-10-20T16:13:24.090" v="63" actId="20577"/>
      <pc:docMkLst>
        <pc:docMk/>
      </pc:docMkLst>
      <pc:sldChg chg="modSp">
        <pc:chgData name="Liam Morden" userId="S::lmord071@uottawa.ca::93761272-e958-47bd-a047-5952229592b0" providerId="AD" clId="Web-{10EC3A06-6EB9-F6C4-00E3-C131B10C45D1}" dt="2024-10-20T16:13:24.090" v="63" actId="20577"/>
        <pc:sldMkLst>
          <pc:docMk/>
          <pc:sldMk cId="602315547" sldId="270"/>
        </pc:sldMkLst>
        <pc:spChg chg="mod">
          <ac:chgData name="Liam Morden" userId="S::lmord071@uottawa.ca::93761272-e958-47bd-a047-5952229592b0" providerId="AD" clId="Web-{10EC3A06-6EB9-F6C4-00E3-C131B10C45D1}" dt="2024-10-20T16:12:00.745" v="13" actId="20577"/>
          <ac:spMkLst>
            <pc:docMk/>
            <pc:sldMk cId="602315547" sldId="270"/>
            <ac:spMk id="7" creationId="{AA2D9D26-7EC2-4C32-5A38-5626CCD5F662}"/>
          </ac:spMkLst>
        </pc:spChg>
        <pc:spChg chg="mod">
          <ac:chgData name="Liam Morden" userId="S::lmord071@uottawa.ca::93761272-e958-47bd-a047-5952229592b0" providerId="AD" clId="Web-{10EC3A06-6EB9-F6C4-00E3-C131B10C45D1}" dt="2024-10-20T16:13:24.090" v="63" actId="20577"/>
          <ac:spMkLst>
            <pc:docMk/>
            <pc:sldMk cId="602315547" sldId="270"/>
            <ac:spMk id="14" creationId="{520EF869-0942-67BC-D096-B50E2B930F47}"/>
          </ac:spMkLst>
        </pc:spChg>
        <pc:spChg chg="mod">
          <ac:chgData name="Liam Morden" userId="S::lmord071@uottawa.ca::93761272-e958-47bd-a047-5952229592b0" providerId="AD" clId="Web-{10EC3A06-6EB9-F6C4-00E3-C131B10C45D1}" dt="2024-10-20T16:13:17.106" v="50" actId="20577"/>
          <ac:spMkLst>
            <pc:docMk/>
            <pc:sldMk cId="602315547" sldId="270"/>
            <ac:spMk id="19" creationId="{44252831-5319-CFC3-0E7E-7E846F41168A}"/>
          </ac:spMkLst>
        </pc:spChg>
        <pc:spChg chg="mod">
          <ac:chgData name="Liam Morden" userId="S::lmord071@uottawa.ca::93761272-e958-47bd-a047-5952229592b0" providerId="AD" clId="Web-{10EC3A06-6EB9-F6C4-00E3-C131B10C45D1}" dt="2024-10-20T16:13:20.497" v="62" actId="20577"/>
          <ac:spMkLst>
            <pc:docMk/>
            <pc:sldMk cId="602315547" sldId="270"/>
            <ac:spMk id="25" creationId="{706A80FD-A34A-6AC8-1D3E-0BE02FCF3367}"/>
          </ac:spMkLst>
        </pc:spChg>
        <pc:spChg chg="mod">
          <ac:chgData name="Liam Morden" userId="S::lmord071@uottawa.ca::93761272-e958-47bd-a047-5952229592b0" providerId="AD" clId="Web-{10EC3A06-6EB9-F6C4-00E3-C131B10C45D1}" dt="2024-10-20T16:12:21.761" v="20" actId="20577"/>
          <ac:spMkLst>
            <pc:docMk/>
            <pc:sldMk cId="602315547" sldId="270"/>
            <ac:spMk id="29" creationId="{FECB13C6-A29E-4031-6B34-842E1995AF66}"/>
          </ac:spMkLst>
        </pc:spChg>
        <pc:spChg chg="mod">
          <ac:chgData name="Liam Morden" userId="S::lmord071@uottawa.ca::93761272-e958-47bd-a047-5952229592b0" providerId="AD" clId="Web-{10EC3A06-6EB9-F6C4-00E3-C131B10C45D1}" dt="2024-10-20T16:13:12.700" v="31" actId="20577"/>
          <ac:spMkLst>
            <pc:docMk/>
            <pc:sldMk cId="602315547" sldId="270"/>
            <ac:spMk id="37" creationId="{F3C67577-418B-A7DD-30D9-C9E5377D8D9D}"/>
          </ac:spMkLst>
        </pc:spChg>
      </pc:sldChg>
    </pc:docChg>
  </pc:docChgLst>
  <pc:docChgLst>
    <pc:chgData name="Liam Morden" userId="S::lmord071@uottawa.ca::93761272-e958-47bd-a047-5952229592b0" providerId="AD" clId="Web-{7D5EA452-1587-A316-939B-ADB6659684AE}"/>
    <pc:docChg chg="addSld delSld modSld">
      <pc:chgData name="Liam Morden" userId="S::lmord071@uottawa.ca::93761272-e958-47bd-a047-5952229592b0" providerId="AD" clId="Web-{7D5EA452-1587-A316-939B-ADB6659684AE}" dt="2024-11-13T15:48:31.431" v="360" actId="20577"/>
      <pc:docMkLst>
        <pc:docMk/>
      </pc:docMkLst>
      <pc:sldChg chg="modSp">
        <pc:chgData name="Liam Morden" userId="S::lmord071@uottawa.ca::93761272-e958-47bd-a047-5952229592b0" providerId="AD" clId="Web-{7D5EA452-1587-A316-939B-ADB6659684AE}" dt="2024-11-12T19:56:25.261" v="358" actId="20577"/>
        <pc:sldMkLst>
          <pc:docMk/>
          <pc:sldMk cId="4028445805" sldId="258"/>
        </pc:sldMkLst>
        <pc:spChg chg="mod">
          <ac:chgData name="Liam Morden" userId="S::lmord071@uottawa.ca::93761272-e958-47bd-a047-5952229592b0" providerId="AD" clId="Web-{7D5EA452-1587-A316-939B-ADB6659684AE}" dt="2024-11-12T19:56:25.261" v="358" actId="20577"/>
          <ac:spMkLst>
            <pc:docMk/>
            <pc:sldMk cId="4028445805" sldId="258"/>
            <ac:spMk id="5" creationId="{F6EEA432-3117-93BE-5164-1B9BF027271A}"/>
          </ac:spMkLst>
        </pc:spChg>
      </pc:sldChg>
      <pc:sldChg chg="modSp">
        <pc:chgData name="Liam Morden" userId="S::lmord071@uottawa.ca::93761272-e958-47bd-a047-5952229592b0" providerId="AD" clId="Web-{7D5EA452-1587-A316-939B-ADB6659684AE}" dt="2024-11-12T19:56:12.323" v="357" actId="20577"/>
        <pc:sldMkLst>
          <pc:docMk/>
          <pc:sldMk cId="2137920764" sldId="273"/>
        </pc:sldMkLst>
        <pc:spChg chg="mod">
          <ac:chgData name="Liam Morden" userId="S::lmord071@uottawa.ca::93761272-e958-47bd-a047-5952229592b0" providerId="AD" clId="Web-{7D5EA452-1587-A316-939B-ADB6659684AE}" dt="2024-11-12T19:56:02.791" v="338" actId="20577"/>
          <ac:spMkLst>
            <pc:docMk/>
            <pc:sldMk cId="2137920764" sldId="273"/>
            <ac:spMk id="7" creationId="{FA0ADB8F-66F2-4967-9C3A-40DDB35049F8}"/>
          </ac:spMkLst>
        </pc:spChg>
        <pc:spChg chg="mod">
          <ac:chgData name="Liam Morden" userId="S::lmord071@uottawa.ca::93761272-e958-47bd-a047-5952229592b0" providerId="AD" clId="Web-{7D5EA452-1587-A316-939B-ADB6659684AE}" dt="2024-11-12T19:56:12.323" v="357" actId="20577"/>
          <ac:spMkLst>
            <pc:docMk/>
            <pc:sldMk cId="2137920764" sldId="273"/>
            <ac:spMk id="8" creationId="{25C33CC8-74F4-4415-B0A3-3F638B241654}"/>
          </ac:spMkLst>
        </pc:spChg>
      </pc:sldChg>
      <pc:sldChg chg="modSp new">
        <pc:chgData name="Liam Morden" userId="S::lmord071@uottawa.ca::93761272-e958-47bd-a047-5952229592b0" providerId="AD" clId="Web-{7D5EA452-1587-A316-939B-ADB6659684AE}" dt="2024-11-12T19:41:08.130" v="156" actId="20577"/>
        <pc:sldMkLst>
          <pc:docMk/>
          <pc:sldMk cId="175464426" sldId="274"/>
        </pc:sldMkLst>
        <pc:spChg chg="mod">
          <ac:chgData name="Liam Morden" userId="S::lmord071@uottawa.ca::93761272-e958-47bd-a047-5952229592b0" providerId="AD" clId="Web-{7D5EA452-1587-A316-939B-ADB6659684AE}" dt="2024-11-12T19:37:35.844" v="91" actId="20577"/>
          <ac:spMkLst>
            <pc:docMk/>
            <pc:sldMk cId="175464426" sldId="274"/>
            <ac:spMk id="4" creationId="{F07BAD99-29F0-1B41-E04B-94AE35186137}"/>
          </ac:spMkLst>
        </pc:spChg>
        <pc:spChg chg="mod">
          <ac:chgData name="Liam Morden" userId="S::lmord071@uottawa.ca::93761272-e958-47bd-a047-5952229592b0" providerId="AD" clId="Web-{7D5EA452-1587-A316-939B-ADB6659684AE}" dt="2024-11-12T19:40:54.176" v="144" actId="20577"/>
          <ac:spMkLst>
            <pc:docMk/>
            <pc:sldMk cId="175464426" sldId="274"/>
            <ac:spMk id="5" creationId="{BAB01A5B-A975-3F4D-DA9A-C7E592059873}"/>
          </ac:spMkLst>
        </pc:spChg>
        <pc:spChg chg="mod">
          <ac:chgData name="Liam Morden" userId="S::lmord071@uottawa.ca::93761272-e958-47bd-a047-5952229592b0" providerId="AD" clId="Web-{7D5EA452-1587-A316-939B-ADB6659684AE}" dt="2024-11-12T19:40:49.614" v="143" actId="20577"/>
          <ac:spMkLst>
            <pc:docMk/>
            <pc:sldMk cId="175464426" sldId="274"/>
            <ac:spMk id="7" creationId="{21FE7D79-AD1D-0579-C506-1F86C7BA6F99}"/>
          </ac:spMkLst>
        </pc:spChg>
        <pc:spChg chg="mod">
          <ac:chgData name="Liam Morden" userId="S::lmord071@uottawa.ca::93761272-e958-47bd-a047-5952229592b0" providerId="AD" clId="Web-{7D5EA452-1587-A316-939B-ADB6659684AE}" dt="2024-11-12T19:41:01.224" v="153" actId="20577"/>
          <ac:spMkLst>
            <pc:docMk/>
            <pc:sldMk cId="175464426" sldId="274"/>
            <ac:spMk id="8" creationId="{E639E7C9-1110-61D1-D834-4C90F1A5D812}"/>
          </ac:spMkLst>
        </pc:spChg>
        <pc:spChg chg="mod">
          <ac:chgData name="Liam Morden" userId="S::lmord071@uottawa.ca::93761272-e958-47bd-a047-5952229592b0" providerId="AD" clId="Web-{7D5EA452-1587-A316-939B-ADB6659684AE}" dt="2024-11-12T19:41:08.130" v="156" actId="20577"/>
          <ac:spMkLst>
            <pc:docMk/>
            <pc:sldMk cId="175464426" sldId="274"/>
            <ac:spMk id="12" creationId="{9D63636F-873D-2562-E262-9741909FE9E0}"/>
          </ac:spMkLst>
        </pc:spChg>
      </pc:sldChg>
      <pc:sldChg chg="new del">
        <pc:chgData name="Liam Morden" userId="S::lmord071@uottawa.ca::93761272-e958-47bd-a047-5952229592b0" providerId="AD" clId="Web-{7D5EA452-1587-A316-939B-ADB6659684AE}" dt="2024-11-12T19:35:02.903" v="9"/>
        <pc:sldMkLst>
          <pc:docMk/>
          <pc:sldMk cId="337500970" sldId="275"/>
        </pc:sldMkLst>
      </pc:sldChg>
      <pc:sldChg chg="modSp new">
        <pc:chgData name="Liam Morden" userId="S::lmord071@uottawa.ca::93761272-e958-47bd-a047-5952229592b0" providerId="AD" clId="Web-{7D5EA452-1587-A316-939B-ADB6659684AE}" dt="2024-11-12T19:48:47.422" v="317" actId="20577"/>
        <pc:sldMkLst>
          <pc:docMk/>
          <pc:sldMk cId="1226342917" sldId="275"/>
        </pc:sldMkLst>
        <pc:spChg chg="mod">
          <ac:chgData name="Liam Morden" userId="S::lmord071@uottawa.ca::93761272-e958-47bd-a047-5952229592b0" providerId="AD" clId="Web-{7D5EA452-1587-A316-939B-ADB6659684AE}" dt="2024-11-12T19:38:54.221" v="131" actId="20577"/>
          <ac:spMkLst>
            <pc:docMk/>
            <pc:sldMk cId="1226342917" sldId="275"/>
            <ac:spMk id="4" creationId="{D2516299-D54C-D164-FC7A-7CC0407C79DA}"/>
          </ac:spMkLst>
        </pc:spChg>
        <pc:spChg chg="mod">
          <ac:chgData name="Liam Morden" userId="S::lmord071@uottawa.ca::93761272-e958-47bd-a047-5952229592b0" providerId="AD" clId="Web-{7D5EA452-1587-A316-939B-ADB6659684AE}" dt="2024-11-12T19:46:50.497" v="297" actId="20577"/>
          <ac:spMkLst>
            <pc:docMk/>
            <pc:sldMk cId="1226342917" sldId="275"/>
            <ac:spMk id="5" creationId="{3E851F24-B609-C5BD-3F3A-EC1BA57E8906}"/>
          </ac:spMkLst>
        </pc:spChg>
        <pc:spChg chg="mod">
          <ac:chgData name="Liam Morden" userId="S::lmord071@uottawa.ca::93761272-e958-47bd-a047-5952229592b0" providerId="AD" clId="Web-{7D5EA452-1587-A316-939B-ADB6659684AE}" dt="2024-11-12T19:46:34.044" v="279" actId="20577"/>
          <ac:spMkLst>
            <pc:docMk/>
            <pc:sldMk cId="1226342917" sldId="275"/>
            <ac:spMk id="7" creationId="{5A1778D6-70DD-9406-8BF4-92AE14F1BD82}"/>
          </ac:spMkLst>
        </pc:spChg>
        <pc:spChg chg="mod">
          <ac:chgData name="Liam Morden" userId="S::lmord071@uottawa.ca::93761272-e958-47bd-a047-5952229592b0" providerId="AD" clId="Web-{7D5EA452-1587-A316-939B-ADB6659684AE}" dt="2024-11-12T19:48:47.422" v="317" actId="20577"/>
          <ac:spMkLst>
            <pc:docMk/>
            <pc:sldMk cId="1226342917" sldId="275"/>
            <ac:spMk id="8" creationId="{4FED8BEA-20AA-E4E9-2E17-AD8DDFF3B600}"/>
          </ac:spMkLst>
        </pc:spChg>
        <pc:spChg chg="mod">
          <ac:chgData name="Liam Morden" userId="S::lmord071@uottawa.ca::93761272-e958-47bd-a047-5952229592b0" providerId="AD" clId="Web-{7D5EA452-1587-A316-939B-ADB6659684AE}" dt="2024-11-12T19:46:08.043" v="265" actId="20577"/>
          <ac:spMkLst>
            <pc:docMk/>
            <pc:sldMk cId="1226342917" sldId="275"/>
            <ac:spMk id="12" creationId="{FFACA11F-12E3-F50B-A0A6-951FAEA9E4C1}"/>
          </ac:spMkLst>
        </pc:spChg>
      </pc:sldChg>
      <pc:sldChg chg="modSp new del">
        <pc:chgData name="Liam Morden" userId="S::lmord071@uottawa.ca::93761272-e958-47bd-a047-5952229592b0" providerId="AD" clId="Web-{7D5EA452-1587-A316-939B-ADB6659684AE}" dt="2024-11-12T19:39:03.799" v="132"/>
        <pc:sldMkLst>
          <pc:docMk/>
          <pc:sldMk cId="504425602" sldId="276"/>
        </pc:sldMkLst>
      </pc:sldChg>
      <pc:sldChg chg="new del">
        <pc:chgData name="Liam Morden" userId="S::lmord071@uottawa.ca::93761272-e958-47bd-a047-5952229592b0" providerId="AD" clId="Web-{7D5EA452-1587-A316-939B-ADB6659684AE}" dt="2024-11-12T19:36:05.217" v="64"/>
        <pc:sldMkLst>
          <pc:docMk/>
          <pc:sldMk cId="83407823" sldId="277"/>
        </pc:sldMkLst>
      </pc:sldChg>
      <pc:sldChg chg="modSp new">
        <pc:chgData name="Liam Morden" userId="S::lmord071@uottawa.ca::93761272-e958-47bd-a047-5952229592b0" providerId="AD" clId="Web-{7D5EA452-1587-A316-939B-ADB6659684AE}" dt="2024-11-12T19:36:49.061" v="73" actId="20577"/>
        <pc:sldMkLst>
          <pc:docMk/>
          <pc:sldMk cId="2613300315" sldId="277"/>
        </pc:sldMkLst>
        <pc:spChg chg="mod">
          <ac:chgData name="Liam Morden" userId="S::lmord071@uottawa.ca::93761272-e958-47bd-a047-5952229592b0" providerId="AD" clId="Web-{7D5EA452-1587-A316-939B-ADB6659684AE}" dt="2024-11-12T19:36:49.061" v="73" actId="20577"/>
          <ac:spMkLst>
            <pc:docMk/>
            <pc:sldMk cId="2613300315" sldId="277"/>
            <ac:spMk id="4" creationId="{5AEAE175-3CA8-60E0-4FC9-F51CBA49249F}"/>
          </ac:spMkLst>
        </pc:spChg>
      </pc:sldChg>
      <pc:sldChg chg="modSp new">
        <pc:chgData name="Liam Morden" userId="S::lmord071@uottawa.ca::93761272-e958-47bd-a047-5952229592b0" providerId="AD" clId="Web-{7D5EA452-1587-A316-939B-ADB6659684AE}" dt="2024-11-12T19:36:58.155" v="80" actId="20577"/>
        <pc:sldMkLst>
          <pc:docMk/>
          <pc:sldMk cId="3575588535" sldId="278"/>
        </pc:sldMkLst>
        <pc:spChg chg="mod">
          <ac:chgData name="Liam Morden" userId="S::lmord071@uottawa.ca::93761272-e958-47bd-a047-5952229592b0" providerId="AD" clId="Web-{7D5EA452-1587-A316-939B-ADB6659684AE}" dt="2024-11-12T19:36:58.155" v="80" actId="20577"/>
          <ac:spMkLst>
            <pc:docMk/>
            <pc:sldMk cId="3575588535" sldId="278"/>
            <ac:spMk id="4" creationId="{CD0D025D-F440-02D5-3C49-BA907706216A}"/>
          </ac:spMkLst>
        </pc:spChg>
      </pc:sldChg>
      <pc:sldChg chg="modSp new">
        <pc:chgData name="Liam Morden" userId="S::lmord071@uottawa.ca::93761272-e958-47bd-a047-5952229592b0" providerId="AD" clId="Web-{7D5EA452-1587-A316-939B-ADB6659684AE}" dt="2024-11-12T19:37:01.530" v="83" actId="20577"/>
        <pc:sldMkLst>
          <pc:docMk/>
          <pc:sldMk cId="968747672" sldId="279"/>
        </pc:sldMkLst>
      </pc:sldChg>
      <pc:sldChg chg="modSp new">
        <pc:chgData name="Liam Morden" userId="S::lmord071@uottawa.ca::93761272-e958-47bd-a047-5952229592b0" providerId="AD" clId="Web-{7D5EA452-1587-A316-939B-ADB6659684AE}" dt="2024-11-12T19:38:20.970" v="126" actId="20577"/>
        <pc:sldMkLst>
          <pc:docMk/>
          <pc:sldMk cId="1228170884" sldId="280"/>
        </pc:sldMkLst>
        <pc:spChg chg="mod">
          <ac:chgData name="Liam Morden" userId="S::lmord071@uottawa.ca::93761272-e958-47bd-a047-5952229592b0" providerId="AD" clId="Web-{7D5EA452-1587-A316-939B-ADB6659684AE}" dt="2024-11-12T19:38:20.970" v="126" actId="20577"/>
          <ac:spMkLst>
            <pc:docMk/>
            <pc:sldMk cId="1228170884" sldId="280"/>
            <ac:spMk id="4" creationId="{03A0E456-FCDA-488E-CC29-807513E3550C}"/>
          </ac:spMkLst>
        </pc:spChg>
      </pc:sldChg>
      <pc:sldChg chg="modSp new del">
        <pc:chgData name="Liam Morden" userId="S::lmord071@uottawa.ca::93761272-e958-47bd-a047-5952229592b0" providerId="AD" clId="Web-{7D5EA452-1587-A316-939B-ADB6659684AE}" dt="2024-11-12T19:45:00.510" v="218"/>
        <pc:sldMkLst>
          <pc:docMk/>
          <pc:sldMk cId="3413398960" sldId="281"/>
        </pc:sldMkLst>
      </pc:sldChg>
      <pc:sldChg chg="modSp new">
        <pc:chgData name="Liam Morden" userId="S::lmord071@uottawa.ca::93761272-e958-47bd-a047-5952229592b0" providerId="AD" clId="Web-{7D5EA452-1587-A316-939B-ADB6659684AE}" dt="2024-11-13T15:48:31.431" v="360" actId="20577"/>
        <pc:sldMkLst>
          <pc:docMk/>
          <pc:sldMk cId="3348576610" sldId="282"/>
        </pc:sldMkLst>
        <pc:spChg chg="mod">
          <ac:chgData name="Liam Morden" userId="S::lmord071@uottawa.ca::93761272-e958-47bd-a047-5952229592b0" providerId="AD" clId="Web-{7D5EA452-1587-A316-939B-ADB6659684AE}" dt="2024-11-12T19:41:48.240" v="187" actId="20577"/>
          <ac:spMkLst>
            <pc:docMk/>
            <pc:sldMk cId="3348576610" sldId="282"/>
            <ac:spMk id="4" creationId="{12BB7910-733C-C010-8A8B-58CF69244CFE}"/>
          </ac:spMkLst>
        </pc:spChg>
        <pc:spChg chg="mod">
          <ac:chgData name="Liam Morden" userId="S::lmord071@uottawa.ca::93761272-e958-47bd-a047-5952229592b0" providerId="AD" clId="Web-{7D5EA452-1587-A316-939B-ADB6659684AE}" dt="2024-11-12T19:42:18.913" v="216" actId="20577"/>
          <ac:spMkLst>
            <pc:docMk/>
            <pc:sldMk cId="3348576610" sldId="282"/>
            <ac:spMk id="5" creationId="{2FF73B1F-F000-3234-BD59-91464524342F}"/>
          </ac:spMkLst>
        </pc:spChg>
        <pc:spChg chg="mod">
          <ac:chgData name="Liam Morden" userId="S::lmord071@uottawa.ca::93761272-e958-47bd-a047-5952229592b0" providerId="AD" clId="Web-{7D5EA452-1587-A316-939B-ADB6659684AE}" dt="2024-11-13T15:48:31.431" v="360" actId="20577"/>
          <ac:spMkLst>
            <pc:docMk/>
            <pc:sldMk cId="3348576610" sldId="282"/>
            <ac:spMk id="7" creationId="{F76AAB04-3715-49C3-8EF0-BAC92B59824D}"/>
          </ac:spMkLst>
        </pc:spChg>
      </pc:sldChg>
      <pc:sldChg chg="modSp new">
        <pc:chgData name="Liam Morden" userId="S::lmord071@uottawa.ca::93761272-e958-47bd-a047-5952229592b0" providerId="AD" clId="Web-{7D5EA452-1587-A316-939B-ADB6659684AE}" dt="2024-11-12T19:45:23.136" v="238" actId="20577"/>
        <pc:sldMkLst>
          <pc:docMk/>
          <pc:sldMk cId="2650396413" sldId="283"/>
        </pc:sldMkLst>
        <pc:spChg chg="mod">
          <ac:chgData name="Liam Morden" userId="S::lmord071@uottawa.ca::93761272-e958-47bd-a047-5952229592b0" providerId="AD" clId="Web-{7D5EA452-1587-A316-939B-ADB6659684AE}" dt="2024-11-12T19:45:03.323" v="220" actId="20577"/>
          <ac:spMkLst>
            <pc:docMk/>
            <pc:sldMk cId="2650396413" sldId="283"/>
            <ac:spMk id="4" creationId="{F0623002-A2F8-6E31-9FCD-636358EF03FC}"/>
          </ac:spMkLst>
        </pc:spChg>
        <pc:spChg chg="mod">
          <ac:chgData name="Liam Morden" userId="S::lmord071@uottawa.ca::93761272-e958-47bd-a047-5952229592b0" providerId="AD" clId="Web-{7D5EA452-1587-A316-939B-ADB6659684AE}" dt="2024-11-12T19:45:23.136" v="238" actId="20577"/>
          <ac:spMkLst>
            <pc:docMk/>
            <pc:sldMk cId="2650396413" sldId="283"/>
            <ac:spMk id="5" creationId="{CF4AA2B0-C551-2165-6CEA-F1FB98EFCFE2}"/>
          </ac:spMkLst>
        </pc:spChg>
        <pc:spChg chg="mod">
          <ac:chgData name="Liam Morden" userId="S::lmord071@uottawa.ca::93761272-e958-47bd-a047-5952229592b0" providerId="AD" clId="Web-{7D5EA452-1587-A316-939B-ADB6659684AE}" dt="2024-11-12T19:45:11.932" v="229" actId="20577"/>
          <ac:spMkLst>
            <pc:docMk/>
            <pc:sldMk cId="2650396413" sldId="283"/>
            <ac:spMk id="7" creationId="{5E5E8823-5A3E-F65F-2D0A-7F48DE1174FD}"/>
          </ac:spMkLst>
        </pc:spChg>
      </pc:sldChg>
      <pc:sldChg chg="new del">
        <pc:chgData name="Liam Morden" userId="S::lmord071@uottawa.ca::93761272-e958-47bd-a047-5952229592b0" providerId="AD" clId="Web-{7D5EA452-1587-A316-939B-ADB6659684AE}" dt="2024-11-12T19:47:01.826" v="299"/>
        <pc:sldMkLst>
          <pc:docMk/>
          <pc:sldMk cId="37095966" sldId="284"/>
        </pc:sldMkLst>
      </pc:sldChg>
      <pc:sldChg chg="modSp new">
        <pc:chgData name="Liam Morden" userId="S::lmord071@uottawa.ca::93761272-e958-47bd-a047-5952229592b0" providerId="AD" clId="Web-{7D5EA452-1587-A316-939B-ADB6659684AE}" dt="2024-11-12T19:47:09.591" v="314" actId="20577"/>
        <pc:sldMkLst>
          <pc:docMk/>
          <pc:sldMk cId="1334572874" sldId="284"/>
        </pc:sldMkLst>
        <pc:spChg chg="mod">
          <ac:chgData name="Liam Morden" userId="S::lmord071@uottawa.ca::93761272-e958-47bd-a047-5952229592b0" providerId="AD" clId="Web-{7D5EA452-1587-A316-939B-ADB6659684AE}" dt="2024-11-12T19:47:09.591" v="314" actId="20577"/>
          <ac:spMkLst>
            <pc:docMk/>
            <pc:sldMk cId="1334572874" sldId="284"/>
            <ac:spMk id="4" creationId="{871883D4-909A-4EDB-B944-25D164E39D8D}"/>
          </ac:spMkLst>
        </pc:spChg>
      </pc:sldChg>
    </pc:docChg>
  </pc:docChgLst>
  <pc:docChgLst>
    <pc:chgData name="Ina Yontchev" userId="cdf1dd4a-e773-4050-b90b-9b7cc8e3ad00" providerId="ADAL" clId="{5D5E13D8-76DD-8A45-8DB3-7A8AB5123DA2}"/>
    <pc:docChg chg="custSel modSld">
      <pc:chgData name="Ina Yontchev" userId="cdf1dd4a-e773-4050-b90b-9b7cc8e3ad00" providerId="ADAL" clId="{5D5E13D8-76DD-8A45-8DB3-7A8AB5123DA2}" dt="2024-11-29T20:25:20.663" v="54" actId="207"/>
      <pc:docMkLst>
        <pc:docMk/>
      </pc:docMkLst>
      <pc:sldChg chg="addSp modSp mod">
        <pc:chgData name="Ina Yontchev" userId="cdf1dd4a-e773-4050-b90b-9b7cc8e3ad00" providerId="ADAL" clId="{5D5E13D8-76DD-8A45-8DB3-7A8AB5123DA2}" dt="2024-11-29T20:25:20.663" v="54" actId="207"/>
        <pc:sldMkLst>
          <pc:docMk/>
          <pc:sldMk cId="2650396413" sldId="283"/>
        </pc:sldMkLst>
        <pc:spChg chg="add mod">
          <ac:chgData name="Ina Yontchev" userId="cdf1dd4a-e773-4050-b90b-9b7cc8e3ad00" providerId="ADAL" clId="{5D5E13D8-76DD-8A45-8DB3-7A8AB5123DA2}" dt="2024-11-29T20:25:20.663" v="54" actId="207"/>
          <ac:spMkLst>
            <pc:docMk/>
            <pc:sldMk cId="2650396413" sldId="283"/>
            <ac:spMk id="6" creationId="{0E8E7088-CE88-C8D7-D066-0CC90AFF281E}"/>
          </ac:spMkLst>
        </pc:spChg>
      </pc:sldChg>
    </pc:docChg>
  </pc:docChgLst>
  <pc:docChgLst>
    <pc:chgData name="Sofia Paravan" userId="S::spara093@uottawa.ca::416f5510-1340-4ca8-9659-43f0fa8f07c1" providerId="AD" clId="Web-{679028E3-2824-B303-7943-715553BB854D}"/>
    <pc:docChg chg="modSld">
      <pc:chgData name="Sofia Paravan" userId="S::spara093@uottawa.ca::416f5510-1340-4ca8-9659-43f0fa8f07c1" providerId="AD" clId="Web-{679028E3-2824-B303-7943-715553BB854D}" dt="2024-12-02T04:40:19.660" v="11"/>
      <pc:docMkLst>
        <pc:docMk/>
      </pc:docMkLst>
      <pc:sldChg chg="modSp">
        <pc:chgData name="Sofia Paravan" userId="S::spara093@uottawa.ca::416f5510-1340-4ca8-9659-43f0fa8f07c1" providerId="AD" clId="Web-{679028E3-2824-B303-7943-715553BB854D}" dt="2024-12-02T04:40:19.660" v="11"/>
        <pc:sldMkLst>
          <pc:docMk/>
          <pc:sldMk cId="4028445805" sldId="258"/>
        </pc:sldMkLst>
        <pc:graphicFrameChg chg="mod modGraphic">
          <ac:chgData name="Sofia Paravan" userId="S::spara093@uottawa.ca::416f5510-1340-4ca8-9659-43f0fa8f07c1" providerId="AD" clId="Web-{679028E3-2824-B303-7943-715553BB854D}" dt="2024-12-02T04:40:19.660" v="11"/>
          <ac:graphicFrameMkLst>
            <pc:docMk/>
            <pc:sldMk cId="4028445805" sldId="258"/>
            <ac:graphicFrameMk id="29" creationId="{BE26A4F8-346C-386A-BB32-BC75C819D99B}"/>
          </ac:graphicFrameMkLst>
        </pc:graphicFrameChg>
      </pc:sldChg>
    </pc:docChg>
  </pc:docChgLst>
  <pc:docChgLst>
    <pc:chgData name="Liam Morden" userId="93761272-e958-47bd-a047-5952229592b0" providerId="ADAL" clId="{49063F2E-7A3F-4F34-B6CA-B163E74F349E}"/>
    <pc:docChg chg="undo custSel addSld delSld modSld sldOrd addMainMaster addSection delSection modSection">
      <pc:chgData name="Liam Morden" userId="93761272-e958-47bd-a047-5952229592b0" providerId="ADAL" clId="{49063F2E-7A3F-4F34-B6CA-B163E74F349E}" dt="2024-10-16T01:17:22.990" v="730" actId="20577"/>
      <pc:docMkLst>
        <pc:docMk/>
      </pc:docMkLst>
      <pc:sldChg chg="del ord">
        <pc:chgData name="Liam Morden" userId="93761272-e958-47bd-a047-5952229592b0" providerId="ADAL" clId="{49063F2E-7A3F-4F34-B6CA-B163E74F349E}" dt="2024-10-16T01:01:47.029" v="3" actId="47"/>
        <pc:sldMkLst>
          <pc:docMk/>
          <pc:sldMk cId="2078426827" sldId="256"/>
        </pc:sldMkLst>
      </pc:sldChg>
      <pc:sldChg chg="modSp new add del mod">
        <pc:chgData name="Liam Morden" userId="93761272-e958-47bd-a047-5952229592b0" providerId="ADAL" clId="{49063F2E-7A3F-4F34-B6CA-B163E74F349E}" dt="2024-10-16T01:17:22.990" v="730" actId="20577"/>
        <pc:sldMkLst>
          <pc:docMk/>
          <pc:sldMk cId="4176733920" sldId="257"/>
        </pc:sldMkLst>
        <pc:spChg chg="mod">
          <ac:chgData name="Liam Morden" userId="93761272-e958-47bd-a047-5952229592b0" providerId="ADAL" clId="{49063F2E-7A3F-4F34-B6CA-B163E74F349E}" dt="2024-10-16T01:17:22.990" v="730" actId="20577"/>
          <ac:spMkLst>
            <pc:docMk/>
            <pc:sldMk cId="4176733920" sldId="257"/>
            <ac:spMk id="2" creationId="{84769D28-0B1C-9CF8-FADD-EFF9A63C121C}"/>
          </ac:spMkLst>
        </pc:spChg>
        <pc:spChg chg="mod">
          <ac:chgData name="Liam Morden" userId="93761272-e958-47bd-a047-5952229592b0" providerId="ADAL" clId="{49063F2E-7A3F-4F34-B6CA-B163E74F349E}" dt="2024-10-16T01:06:05.443" v="210" actId="20577"/>
          <ac:spMkLst>
            <pc:docMk/>
            <pc:sldMk cId="4176733920" sldId="257"/>
            <ac:spMk id="3" creationId="{200357EC-706D-F526-E2B7-59D8DC6B99DD}"/>
          </ac:spMkLst>
        </pc:spChg>
        <pc:spChg chg="mod">
          <ac:chgData name="Liam Morden" userId="93761272-e958-47bd-a047-5952229592b0" providerId="ADAL" clId="{49063F2E-7A3F-4F34-B6CA-B163E74F349E}" dt="2024-10-16T01:06:19.503" v="244" actId="20577"/>
          <ac:spMkLst>
            <pc:docMk/>
            <pc:sldMk cId="4176733920" sldId="257"/>
            <ac:spMk id="4" creationId="{059AA5E6-AF72-A4BD-7DEA-60D1FFFBA0FE}"/>
          </ac:spMkLst>
        </pc:spChg>
      </pc:sldChg>
      <pc:sldChg chg="addSp delSp modSp add del mod">
        <pc:chgData name="Liam Morden" userId="93761272-e958-47bd-a047-5952229592b0" providerId="ADAL" clId="{49063F2E-7A3F-4F34-B6CA-B163E74F349E}" dt="2024-10-16T01:10:37.908" v="471" actId="478"/>
        <pc:sldMkLst>
          <pc:docMk/>
          <pc:sldMk cId="4028445805" sldId="258"/>
        </pc:sldMkLst>
        <pc:spChg chg="mod">
          <ac:chgData name="Liam Morden" userId="93761272-e958-47bd-a047-5952229592b0" providerId="ADAL" clId="{49063F2E-7A3F-4F34-B6CA-B163E74F349E}" dt="2024-10-16T01:03:44.058" v="46" actId="20577"/>
          <ac:spMkLst>
            <pc:docMk/>
            <pc:sldMk cId="4028445805" sldId="258"/>
            <ac:spMk id="3" creationId="{06157F23-B963-AA25-F72E-6254DAA4105D}"/>
          </ac:spMkLst>
        </pc:spChg>
        <pc:graphicFrameChg chg="modGraphic">
          <ac:chgData name="Liam Morden" userId="93761272-e958-47bd-a047-5952229592b0" providerId="ADAL" clId="{49063F2E-7A3F-4F34-B6CA-B163E74F349E}" dt="2024-10-16T01:05:37.268" v="186" actId="20577"/>
          <ac:graphicFrameMkLst>
            <pc:docMk/>
            <pc:sldMk cId="4028445805" sldId="258"/>
            <ac:graphicFrameMk id="14" creationId="{76A4AAB4-9254-CC00-93B4-16E1C7879EAD}"/>
          </ac:graphicFrameMkLst>
        </pc:graphicFrameChg>
        <pc:graphicFrameChg chg="mod modGraphic">
          <ac:chgData name="Liam Morden" userId="93761272-e958-47bd-a047-5952229592b0" providerId="ADAL" clId="{49063F2E-7A3F-4F34-B6CA-B163E74F349E}" dt="2024-10-16T01:04:46.361" v="84" actId="20577"/>
          <ac:graphicFrameMkLst>
            <pc:docMk/>
            <pc:sldMk cId="4028445805" sldId="258"/>
            <ac:graphicFrameMk id="28" creationId="{12D60DE0-F191-BA4C-B982-0B01A910E199}"/>
          </ac:graphicFrameMkLst>
        </pc:graphicFrameChg>
        <pc:graphicFrameChg chg="mod modGraphic">
          <ac:chgData name="Liam Morden" userId="93761272-e958-47bd-a047-5952229592b0" providerId="ADAL" clId="{49063F2E-7A3F-4F34-B6CA-B163E74F349E}" dt="2024-10-16T01:05:06.074" v="97" actId="20577"/>
          <ac:graphicFrameMkLst>
            <pc:docMk/>
            <pc:sldMk cId="4028445805" sldId="258"/>
            <ac:graphicFrameMk id="29" creationId="{BE26A4F8-346C-386A-BB32-BC75C819D99B}"/>
          </ac:graphicFrameMkLst>
        </pc:graphicFrameChg>
        <pc:graphicFrameChg chg="mod modGraphic">
          <ac:chgData name="Liam Morden" userId="93761272-e958-47bd-a047-5952229592b0" providerId="ADAL" clId="{49063F2E-7A3F-4F34-B6CA-B163E74F349E}" dt="2024-10-16T01:05:15.183" v="103" actId="20577"/>
          <ac:graphicFrameMkLst>
            <pc:docMk/>
            <pc:sldMk cId="4028445805" sldId="258"/>
            <ac:graphicFrameMk id="30" creationId="{B193158D-0499-7DE8-C232-7084B7490925}"/>
          </ac:graphicFrameMkLst>
        </pc:graphicFrameChg>
      </pc:sldChg>
      <pc:sldChg chg="new add del">
        <pc:chgData name="Liam Morden" userId="93761272-e958-47bd-a047-5952229592b0" providerId="ADAL" clId="{49063F2E-7A3F-4F34-B6CA-B163E74F349E}" dt="2024-10-16T01:06:42.026" v="247" actId="47"/>
        <pc:sldMkLst>
          <pc:docMk/>
          <pc:sldMk cId="3423929268" sldId="259"/>
        </pc:sldMkLst>
      </pc:sldChg>
      <pc:sldChg chg="new del">
        <pc:chgData name="Liam Morden" userId="93761272-e958-47bd-a047-5952229592b0" providerId="ADAL" clId="{49063F2E-7A3F-4F34-B6CA-B163E74F349E}" dt="2024-10-16T01:03:05.211" v="7" actId="47"/>
        <pc:sldMkLst>
          <pc:docMk/>
          <pc:sldMk cId="3818274280" sldId="259"/>
        </pc:sldMkLst>
      </pc:sldChg>
      <pc:sldChg chg="new add del">
        <pc:chgData name="Liam Morden" userId="93761272-e958-47bd-a047-5952229592b0" providerId="ADAL" clId="{49063F2E-7A3F-4F34-B6CA-B163E74F349E}" dt="2024-10-16T01:06:42.026" v="247" actId="47"/>
        <pc:sldMkLst>
          <pc:docMk/>
          <pc:sldMk cId="4024552919" sldId="260"/>
        </pc:sldMkLst>
      </pc:sldChg>
      <pc:sldChg chg="addSp delSp modSp new mod">
        <pc:chgData name="Liam Morden" userId="93761272-e958-47bd-a047-5952229592b0" providerId="ADAL" clId="{49063F2E-7A3F-4F34-B6CA-B163E74F349E}" dt="2024-10-16T01:16:39.317" v="714" actId="20577"/>
        <pc:sldMkLst>
          <pc:docMk/>
          <pc:sldMk cId="4182664215" sldId="261"/>
        </pc:sldMkLst>
        <pc:spChg chg="mod">
          <ac:chgData name="Liam Morden" userId="93761272-e958-47bd-a047-5952229592b0" providerId="ADAL" clId="{49063F2E-7A3F-4F34-B6CA-B163E74F349E}" dt="2024-10-16T01:12:26.404" v="503" actId="20577"/>
          <ac:spMkLst>
            <pc:docMk/>
            <pc:sldMk cId="4182664215" sldId="261"/>
            <ac:spMk id="2" creationId="{CFED39EE-7B38-4C37-C3CA-1E7438B23FBE}"/>
          </ac:spMkLst>
        </pc:spChg>
      </pc:sldChg>
      <pc:sldChg chg="new del">
        <pc:chgData name="Liam Morden" userId="93761272-e958-47bd-a047-5952229592b0" providerId="ADAL" clId="{49063F2E-7A3F-4F34-B6CA-B163E74F349E}" dt="2024-10-16T01:07:00.258" v="278" actId="47"/>
        <pc:sldMkLst>
          <pc:docMk/>
          <pc:sldMk cId="1104975624" sldId="262"/>
        </pc:sldMkLst>
      </pc:sldChg>
      <pc:sldChg chg="modSp new mod">
        <pc:chgData name="Liam Morden" userId="93761272-e958-47bd-a047-5952229592b0" providerId="ADAL" clId="{49063F2E-7A3F-4F34-B6CA-B163E74F349E}" dt="2024-10-16T01:16:47.361" v="716" actId="20577"/>
        <pc:sldMkLst>
          <pc:docMk/>
          <pc:sldMk cId="2853754934" sldId="262"/>
        </pc:sldMkLst>
        <pc:spChg chg="mod">
          <ac:chgData name="Liam Morden" userId="93761272-e958-47bd-a047-5952229592b0" providerId="ADAL" clId="{49063F2E-7A3F-4F34-B6CA-B163E74F349E}" dt="2024-10-16T01:12:29.664" v="506" actId="20577"/>
          <ac:spMkLst>
            <pc:docMk/>
            <pc:sldMk cId="2853754934" sldId="262"/>
            <ac:spMk id="2" creationId="{AED78D44-FEF3-50B8-7E42-BBCE41DD9115}"/>
          </ac:spMkLst>
        </pc:spChg>
      </pc:sldChg>
      <pc:sldChg chg="modSp new mod">
        <pc:chgData name="Liam Morden" userId="93761272-e958-47bd-a047-5952229592b0" providerId="ADAL" clId="{49063F2E-7A3F-4F34-B6CA-B163E74F349E}" dt="2024-10-16T01:16:51.825" v="718" actId="20577"/>
        <pc:sldMkLst>
          <pc:docMk/>
          <pc:sldMk cId="1578569842" sldId="263"/>
        </pc:sldMkLst>
        <pc:spChg chg="mod">
          <ac:chgData name="Liam Morden" userId="93761272-e958-47bd-a047-5952229592b0" providerId="ADAL" clId="{49063F2E-7A3F-4F34-B6CA-B163E74F349E}" dt="2024-10-16T01:12:32.537" v="509" actId="20577"/>
          <ac:spMkLst>
            <pc:docMk/>
            <pc:sldMk cId="1578569842" sldId="263"/>
            <ac:spMk id="2" creationId="{0E884B41-90D1-141A-E550-3EA3756A5F95}"/>
          </ac:spMkLst>
        </pc:spChg>
      </pc:sldChg>
      <pc:sldChg chg="modSp new mod">
        <pc:chgData name="Liam Morden" userId="93761272-e958-47bd-a047-5952229592b0" providerId="ADAL" clId="{49063F2E-7A3F-4F34-B6CA-B163E74F349E}" dt="2024-10-16T01:16:58.300" v="722" actId="20577"/>
        <pc:sldMkLst>
          <pc:docMk/>
          <pc:sldMk cId="171056887" sldId="264"/>
        </pc:sldMkLst>
        <pc:spChg chg="mod">
          <ac:chgData name="Liam Morden" userId="93761272-e958-47bd-a047-5952229592b0" providerId="ADAL" clId="{49063F2E-7A3F-4F34-B6CA-B163E74F349E}" dt="2024-10-16T01:12:41.007" v="515" actId="20577"/>
          <ac:spMkLst>
            <pc:docMk/>
            <pc:sldMk cId="171056887" sldId="264"/>
            <ac:spMk id="2" creationId="{F194803B-8774-7A27-9367-31AD60113B1D}"/>
          </ac:spMkLst>
        </pc:spChg>
      </pc:sldChg>
      <pc:sldChg chg="modSp new del mod">
        <pc:chgData name="Liam Morden" userId="93761272-e958-47bd-a047-5952229592b0" providerId="ADAL" clId="{49063F2E-7A3F-4F34-B6CA-B163E74F349E}" dt="2024-10-16T01:08:04.413" v="378" actId="47"/>
        <pc:sldMkLst>
          <pc:docMk/>
          <pc:sldMk cId="3760954501" sldId="265"/>
        </pc:sldMkLst>
      </pc:sldChg>
      <pc:sldChg chg="modSp new mod">
        <pc:chgData name="Liam Morden" userId="93761272-e958-47bd-a047-5952229592b0" providerId="ADAL" clId="{49063F2E-7A3F-4F34-B6CA-B163E74F349E}" dt="2024-10-16T01:17:00.989" v="724" actId="20577"/>
        <pc:sldMkLst>
          <pc:docMk/>
          <pc:sldMk cId="3796476361" sldId="266"/>
        </pc:sldMkLst>
        <pc:spChg chg="mod">
          <ac:chgData name="Liam Morden" userId="93761272-e958-47bd-a047-5952229592b0" providerId="ADAL" clId="{49063F2E-7A3F-4F34-B6CA-B163E74F349E}" dt="2024-10-16T01:12:45.205" v="520" actId="20577"/>
          <ac:spMkLst>
            <pc:docMk/>
            <pc:sldMk cId="3796476361" sldId="266"/>
            <ac:spMk id="2" creationId="{9B6023E8-1E52-E7A3-8BCF-0C3AED81D531}"/>
          </ac:spMkLst>
        </pc:spChg>
      </pc:sldChg>
      <pc:sldChg chg="modSp new mod">
        <pc:chgData name="Liam Morden" userId="93761272-e958-47bd-a047-5952229592b0" providerId="ADAL" clId="{49063F2E-7A3F-4F34-B6CA-B163E74F349E}" dt="2024-10-16T01:17:04.578" v="726" actId="20577"/>
        <pc:sldMkLst>
          <pc:docMk/>
          <pc:sldMk cId="1599467439" sldId="267"/>
        </pc:sldMkLst>
        <pc:spChg chg="mod">
          <ac:chgData name="Liam Morden" userId="93761272-e958-47bd-a047-5952229592b0" providerId="ADAL" clId="{49063F2E-7A3F-4F34-B6CA-B163E74F349E}" dt="2024-10-16T01:08:31.446" v="404" actId="20577"/>
          <ac:spMkLst>
            <pc:docMk/>
            <pc:sldMk cId="1599467439" sldId="267"/>
            <ac:spMk id="2" creationId="{0CE25A1B-955D-CFD0-433C-0663C1415AB5}"/>
          </ac:spMkLst>
        </pc:spChg>
        <pc:spChg chg="mod">
          <ac:chgData name="Liam Morden" userId="93761272-e958-47bd-a047-5952229592b0" providerId="ADAL" clId="{49063F2E-7A3F-4F34-B6CA-B163E74F349E}" dt="2024-10-16T01:08:38.022" v="417" actId="20577"/>
          <ac:spMkLst>
            <pc:docMk/>
            <pc:sldMk cId="1599467439" sldId="267"/>
            <ac:spMk id="3" creationId="{742DA4C8-3789-9AB5-86BF-8CC8C234405E}"/>
          </ac:spMkLst>
        </pc:spChg>
      </pc:sldChg>
      <pc:sldChg chg="modSp new mod">
        <pc:chgData name="Liam Morden" userId="93761272-e958-47bd-a047-5952229592b0" providerId="ADAL" clId="{49063F2E-7A3F-4F34-B6CA-B163E74F349E}" dt="2024-10-16T01:17:07.506" v="728" actId="20577"/>
        <pc:sldMkLst>
          <pc:docMk/>
          <pc:sldMk cId="614813708" sldId="268"/>
        </pc:sldMkLst>
        <pc:spChg chg="mod">
          <ac:chgData name="Liam Morden" userId="93761272-e958-47bd-a047-5952229592b0" providerId="ADAL" clId="{49063F2E-7A3F-4F34-B6CA-B163E74F349E}" dt="2024-10-16T01:08:44.135" v="431" actId="20577"/>
          <ac:spMkLst>
            <pc:docMk/>
            <pc:sldMk cId="614813708" sldId="268"/>
            <ac:spMk id="2" creationId="{59138D31-D34E-6494-C862-9228050E3EA9}"/>
          </ac:spMkLst>
        </pc:spChg>
        <pc:spChg chg="mod">
          <ac:chgData name="Liam Morden" userId="93761272-e958-47bd-a047-5952229592b0" providerId="ADAL" clId="{49063F2E-7A3F-4F34-B6CA-B163E74F349E}" dt="2024-10-16T01:08:52.758" v="444" actId="20577"/>
          <ac:spMkLst>
            <pc:docMk/>
            <pc:sldMk cId="614813708" sldId="268"/>
            <ac:spMk id="3" creationId="{39B7B067-F5AD-BE67-B806-AB2FACF883C2}"/>
          </ac:spMkLst>
        </pc:spChg>
      </pc:sldChg>
      <pc:sldChg chg="modSp new mod">
        <pc:chgData name="Liam Morden" userId="93761272-e958-47bd-a047-5952229592b0" providerId="ADAL" clId="{49063F2E-7A3F-4F34-B6CA-B163E74F349E}" dt="2024-10-16T01:16:54.398" v="720" actId="20577"/>
        <pc:sldMkLst>
          <pc:docMk/>
          <pc:sldMk cId="2951441161" sldId="269"/>
        </pc:sldMkLst>
        <pc:spChg chg="mod">
          <ac:chgData name="Liam Morden" userId="93761272-e958-47bd-a047-5952229592b0" providerId="ADAL" clId="{49063F2E-7A3F-4F34-B6CA-B163E74F349E}" dt="2024-10-16T01:12:37.249" v="512" actId="20577"/>
          <ac:spMkLst>
            <pc:docMk/>
            <pc:sldMk cId="2951441161" sldId="269"/>
            <ac:spMk id="2" creationId="{B810EE12-89D1-0B9B-15C5-6E030ECC6F19}"/>
          </ac:spMkLst>
        </pc:spChg>
      </pc:sldChg>
      <pc:sldChg chg="addSp delSp modSp add mod">
        <pc:chgData name="Liam Morden" userId="93761272-e958-47bd-a047-5952229592b0" providerId="ADAL" clId="{49063F2E-7A3F-4F34-B6CA-B163E74F349E}" dt="2024-10-16T01:16:04.461" v="693" actId="5793"/>
        <pc:sldMkLst>
          <pc:docMk/>
          <pc:sldMk cId="602315547" sldId="270"/>
        </pc:sldMkLst>
        <pc:spChg chg="add mod">
          <ac:chgData name="Liam Morden" userId="93761272-e958-47bd-a047-5952229592b0" providerId="ADAL" clId="{49063F2E-7A3F-4F34-B6CA-B163E74F349E}" dt="2024-10-16T01:16:04.461" v="693" actId="5793"/>
          <ac:spMkLst>
            <pc:docMk/>
            <pc:sldMk cId="602315547" sldId="270"/>
            <ac:spMk id="5" creationId="{4E2CD0B6-8FD7-1509-83E0-63AF37A8BD78}"/>
          </ac:spMkLst>
        </pc:spChg>
        <pc:spChg chg="mod">
          <ac:chgData name="Liam Morden" userId="93761272-e958-47bd-a047-5952229592b0" providerId="ADAL" clId="{49063F2E-7A3F-4F34-B6CA-B163E74F349E}" dt="2024-10-16T01:14:24.793" v="550" actId="20577"/>
          <ac:spMkLst>
            <pc:docMk/>
            <pc:sldMk cId="602315547" sldId="270"/>
            <ac:spMk id="6" creationId="{64A5CAB6-B341-18CE-145D-C363D1EF5334}"/>
          </ac:spMkLst>
        </pc:spChg>
        <pc:spChg chg="mod">
          <ac:chgData name="Liam Morden" userId="93761272-e958-47bd-a047-5952229592b0" providerId="ADAL" clId="{49063F2E-7A3F-4F34-B6CA-B163E74F349E}" dt="2024-10-16T01:15:23.342" v="659" actId="20577"/>
          <ac:spMkLst>
            <pc:docMk/>
            <pc:sldMk cId="602315547" sldId="270"/>
            <ac:spMk id="7" creationId="{AA2D9D26-7EC2-4C32-5A38-5626CCD5F662}"/>
          </ac:spMkLst>
        </pc:spChg>
        <pc:spChg chg="add mod">
          <ac:chgData name="Liam Morden" userId="93761272-e958-47bd-a047-5952229592b0" providerId="ADAL" clId="{49063F2E-7A3F-4F34-B6CA-B163E74F349E}" dt="2024-10-16T01:13:45.332" v="530" actId="34135"/>
          <ac:spMkLst>
            <pc:docMk/>
            <pc:sldMk cId="602315547" sldId="270"/>
            <ac:spMk id="10" creationId="{923EC487-C07C-664F-2079-66019884D266}"/>
          </ac:spMkLst>
        </pc:spChg>
        <pc:spChg chg="mod">
          <ac:chgData name="Liam Morden" userId="93761272-e958-47bd-a047-5952229592b0" providerId="ADAL" clId="{49063F2E-7A3F-4F34-B6CA-B163E74F349E}" dt="2024-10-16T01:14:10.814" v="532" actId="20577"/>
          <ac:spMkLst>
            <pc:docMk/>
            <pc:sldMk cId="602315547" sldId="270"/>
            <ac:spMk id="12" creationId="{ED983260-F2B3-8B28-F871-E193190F75DC}"/>
          </ac:spMkLst>
        </pc:spChg>
        <pc:spChg chg="mod">
          <ac:chgData name="Liam Morden" userId="93761272-e958-47bd-a047-5952229592b0" providerId="ADAL" clId="{49063F2E-7A3F-4F34-B6CA-B163E74F349E}" dt="2024-10-16T01:15:50.256" v="665" actId="20577"/>
          <ac:spMkLst>
            <pc:docMk/>
            <pc:sldMk cId="602315547" sldId="270"/>
            <ac:spMk id="13" creationId="{90DD3E65-BF10-E00F-7465-AEB6D25A2675}"/>
          </ac:spMkLst>
        </pc:spChg>
        <pc:spChg chg="mod">
          <ac:chgData name="Liam Morden" userId="93761272-e958-47bd-a047-5952229592b0" providerId="ADAL" clId="{49063F2E-7A3F-4F34-B6CA-B163E74F349E}" dt="2024-10-16T01:14:32.922" v="567" actId="20577"/>
          <ac:spMkLst>
            <pc:docMk/>
            <pc:sldMk cId="602315547" sldId="270"/>
            <ac:spMk id="14" creationId="{520EF869-0942-67BC-D096-B50E2B930F47}"/>
          </ac:spMkLst>
        </pc:spChg>
        <pc:spChg chg="mod">
          <ac:chgData name="Liam Morden" userId="93761272-e958-47bd-a047-5952229592b0" providerId="ADAL" clId="{49063F2E-7A3F-4F34-B6CA-B163E74F349E}" dt="2024-10-16T01:14:14.978" v="537" actId="20577"/>
          <ac:spMkLst>
            <pc:docMk/>
            <pc:sldMk cId="602315547" sldId="270"/>
            <ac:spMk id="18" creationId="{38519A42-E838-937A-FFA0-52A2B89B6BAF}"/>
          </ac:spMkLst>
        </pc:spChg>
        <pc:spChg chg="mod">
          <ac:chgData name="Liam Morden" userId="93761272-e958-47bd-a047-5952229592b0" providerId="ADAL" clId="{49063F2E-7A3F-4F34-B6CA-B163E74F349E}" dt="2024-10-16T01:14:56.801" v="606" actId="20577"/>
          <ac:spMkLst>
            <pc:docMk/>
            <pc:sldMk cId="602315547" sldId="270"/>
            <ac:spMk id="19" creationId="{44252831-5319-CFC3-0E7E-7E846F41168A}"/>
          </ac:spMkLst>
        </pc:spChg>
        <pc:spChg chg="mod">
          <ac:chgData name="Liam Morden" userId="93761272-e958-47bd-a047-5952229592b0" providerId="ADAL" clId="{49063F2E-7A3F-4F34-B6CA-B163E74F349E}" dt="2024-10-16T01:15:27.809" v="660"/>
          <ac:spMkLst>
            <pc:docMk/>
            <pc:sldMk cId="602315547" sldId="270"/>
            <ac:spMk id="20" creationId="{DC2722AE-890C-7B2E-FE8D-20299FE35143}"/>
          </ac:spMkLst>
        </pc:spChg>
        <pc:spChg chg="mod">
          <ac:chgData name="Liam Morden" userId="93761272-e958-47bd-a047-5952229592b0" providerId="ADAL" clId="{49063F2E-7A3F-4F34-B6CA-B163E74F349E}" dt="2024-10-16T01:15:56.521" v="677" actId="20577"/>
          <ac:spMkLst>
            <pc:docMk/>
            <pc:sldMk cId="602315547" sldId="270"/>
            <ac:spMk id="21" creationId="{F3E9978B-A94E-8202-DC07-AB68F5FB06D3}"/>
          </ac:spMkLst>
        </pc:spChg>
        <pc:spChg chg="mod">
          <ac:chgData name="Liam Morden" userId="93761272-e958-47bd-a047-5952229592b0" providerId="ADAL" clId="{49063F2E-7A3F-4F34-B6CA-B163E74F349E}" dt="2024-10-16T01:14:17.625" v="540" actId="20577"/>
          <ac:spMkLst>
            <pc:docMk/>
            <pc:sldMk cId="602315547" sldId="270"/>
            <ac:spMk id="24" creationId="{969F84BC-68F3-2272-DE1D-E26E0044FE81}"/>
          </ac:spMkLst>
        </pc:spChg>
        <pc:spChg chg="mod">
          <ac:chgData name="Liam Morden" userId="93761272-e958-47bd-a047-5952229592b0" providerId="ADAL" clId="{49063F2E-7A3F-4F34-B6CA-B163E74F349E}" dt="2024-10-16T01:15:10.925" v="633" actId="20577"/>
          <ac:spMkLst>
            <pc:docMk/>
            <pc:sldMk cId="602315547" sldId="270"/>
            <ac:spMk id="25" creationId="{706A80FD-A34A-6AC8-1D3E-0BE02FCF3367}"/>
          </ac:spMkLst>
        </pc:spChg>
        <pc:spChg chg="mod">
          <ac:chgData name="Liam Morden" userId="93761272-e958-47bd-a047-5952229592b0" providerId="ADAL" clId="{49063F2E-7A3F-4F34-B6CA-B163E74F349E}" dt="2024-10-16T01:14:22.126" v="547" actId="20577"/>
          <ac:spMkLst>
            <pc:docMk/>
            <pc:sldMk cId="602315547" sldId="270"/>
            <ac:spMk id="28" creationId="{7C8A4413-71D2-6C6B-ADC1-7873059A11A3}"/>
          </ac:spMkLst>
        </pc:spChg>
        <pc:spChg chg="mod">
          <ac:chgData name="Liam Morden" userId="93761272-e958-47bd-a047-5952229592b0" providerId="ADAL" clId="{49063F2E-7A3F-4F34-B6CA-B163E74F349E}" dt="2024-10-16T01:15:19.444" v="650" actId="20577"/>
          <ac:spMkLst>
            <pc:docMk/>
            <pc:sldMk cId="602315547" sldId="270"/>
            <ac:spMk id="29" creationId="{FECB13C6-A29E-4031-6B34-842E1995AF66}"/>
          </ac:spMkLst>
        </pc:spChg>
        <pc:spChg chg="mod">
          <ac:chgData name="Liam Morden" userId="93761272-e958-47bd-a047-5952229592b0" providerId="ADAL" clId="{49063F2E-7A3F-4F34-B6CA-B163E74F349E}" dt="2024-10-16T01:15:52.654" v="667" actId="20577"/>
          <ac:spMkLst>
            <pc:docMk/>
            <pc:sldMk cId="602315547" sldId="270"/>
            <ac:spMk id="31" creationId="{DA3E567F-2F7B-27D0-6E13-EDF61164BC12}"/>
          </ac:spMkLst>
        </pc:spChg>
        <pc:spChg chg="mod">
          <ac:chgData name="Liam Morden" userId="93761272-e958-47bd-a047-5952229592b0" providerId="ADAL" clId="{49063F2E-7A3F-4F34-B6CA-B163E74F349E}" dt="2024-10-16T01:15:38.188" v="662"/>
          <ac:spMkLst>
            <pc:docMk/>
            <pc:sldMk cId="602315547" sldId="270"/>
            <ac:spMk id="32" creationId="{94AD5B22-AF86-890A-C4EC-364D5327FB71}"/>
          </ac:spMkLst>
        </pc:spChg>
        <pc:spChg chg="mod">
          <ac:chgData name="Liam Morden" userId="93761272-e958-47bd-a047-5952229592b0" providerId="ADAL" clId="{49063F2E-7A3F-4F34-B6CA-B163E74F349E}" dt="2024-10-16T01:16:01.447" v="692" actId="20577"/>
          <ac:spMkLst>
            <pc:docMk/>
            <pc:sldMk cId="602315547" sldId="270"/>
            <ac:spMk id="33" creationId="{D6AB1B5E-6B21-403E-0825-AEA7121F4B2A}"/>
          </ac:spMkLst>
        </pc:spChg>
        <pc:spChg chg="mod">
          <ac:chgData name="Liam Morden" userId="93761272-e958-47bd-a047-5952229592b0" providerId="ADAL" clId="{49063F2E-7A3F-4F34-B6CA-B163E74F349E}" dt="2024-10-16T01:14:13.028" v="534" actId="20577"/>
          <ac:spMkLst>
            <pc:docMk/>
            <pc:sldMk cId="602315547" sldId="270"/>
            <ac:spMk id="36" creationId="{441E6959-0748-6A02-6BC7-13A963858AB1}"/>
          </ac:spMkLst>
        </pc:spChg>
        <pc:spChg chg="mod">
          <ac:chgData name="Liam Morden" userId="93761272-e958-47bd-a047-5952229592b0" providerId="ADAL" clId="{49063F2E-7A3F-4F34-B6CA-B163E74F349E}" dt="2024-10-16T01:14:38.553" v="587" actId="20577"/>
          <ac:spMkLst>
            <pc:docMk/>
            <pc:sldMk cId="602315547" sldId="270"/>
            <ac:spMk id="37" creationId="{F3C67577-418B-A7DD-30D9-C9E5377D8D9D}"/>
          </ac:spMkLst>
        </pc:spChg>
        <pc:grpChg chg="add mod">
          <ac:chgData name="Liam Morden" userId="93761272-e958-47bd-a047-5952229592b0" providerId="ADAL" clId="{49063F2E-7A3F-4F34-B6CA-B163E74F349E}" dt="2024-10-16T01:15:36.536" v="661" actId="1076"/>
          <ac:grpSpMkLst>
            <pc:docMk/>
            <pc:sldMk cId="602315547" sldId="270"/>
            <ac:grpSpMk id="11" creationId="{F0B9CB4A-1E44-FB1D-9BD2-9F5C42E210D0}"/>
          </ac:grpSpMkLst>
        </pc:grpChg>
        <pc:grpChg chg="add mod">
          <ac:chgData name="Liam Morden" userId="93761272-e958-47bd-a047-5952229592b0" providerId="ADAL" clId="{49063F2E-7A3F-4F34-B6CA-B163E74F349E}" dt="2024-10-16T01:15:45.722" v="663" actId="1076"/>
          <ac:grpSpMkLst>
            <pc:docMk/>
            <pc:sldMk cId="602315547" sldId="270"/>
            <ac:grpSpMk id="30" creationId="{63FC9125-F41E-4B96-B154-1AECC33DDF3F}"/>
          </ac:grpSpMkLst>
        </pc:grpChg>
      </pc:sldChg>
      <pc:sldChg chg="new del">
        <pc:chgData name="Liam Morden" userId="93761272-e958-47bd-a047-5952229592b0" providerId="ADAL" clId="{49063F2E-7A3F-4F34-B6CA-B163E74F349E}" dt="2024-10-16T01:12:49.984" v="521" actId="47"/>
        <pc:sldMkLst>
          <pc:docMk/>
          <pc:sldMk cId="3097260771" sldId="270"/>
        </pc:sldMkLst>
      </pc:sldChg>
      <pc:sldMasterChg chg="add addSldLayout">
        <pc:chgData name="Liam Morden" userId="93761272-e958-47bd-a047-5952229592b0" providerId="ADAL" clId="{49063F2E-7A3F-4F34-B6CA-B163E74F349E}" dt="2024-10-16T01:02:55.841" v="4" actId="27028"/>
        <pc:sldMasterMkLst>
          <pc:docMk/>
          <pc:sldMasterMk cId="108896749" sldId="2147483694"/>
        </pc:sldMasterMkLst>
        <pc:sldLayoutChg chg="add">
          <pc:chgData name="Liam Morden" userId="93761272-e958-47bd-a047-5952229592b0" providerId="ADAL" clId="{49063F2E-7A3F-4F34-B6CA-B163E74F349E}" dt="2024-10-16T01:02:55.841" v="4" actId="27028"/>
          <pc:sldLayoutMkLst>
            <pc:docMk/>
            <pc:sldMasterMk cId="108896749" sldId="2147483694"/>
            <pc:sldLayoutMk cId="3428732608" sldId="2147483695"/>
          </pc:sldLayoutMkLst>
        </pc:sldLayoutChg>
      </pc:sldMasterChg>
      <pc:sldMasterChg chg="add addSldLayout">
        <pc:chgData name="Liam Morden" userId="93761272-e958-47bd-a047-5952229592b0" providerId="ADAL" clId="{49063F2E-7A3F-4F34-B6CA-B163E74F349E}" dt="2024-10-16T01:13:00.258" v="522" actId="27028"/>
        <pc:sldMasterMkLst>
          <pc:docMk/>
          <pc:sldMasterMk cId="108896749" sldId="2147483701"/>
        </pc:sldMasterMkLst>
        <pc:sldLayoutChg chg="add">
          <pc:chgData name="Liam Morden" userId="93761272-e958-47bd-a047-5952229592b0" providerId="ADAL" clId="{49063F2E-7A3F-4F34-B6CA-B163E74F349E}" dt="2024-10-16T01:13:00.258" v="522" actId="27028"/>
          <pc:sldLayoutMkLst>
            <pc:docMk/>
            <pc:sldMasterMk cId="108896749" sldId="2147483701"/>
            <pc:sldLayoutMk cId="3428732608" sldId="2147483697"/>
          </pc:sldLayoutMkLst>
        </pc:sldLayoutChg>
      </pc:sldMasterChg>
    </pc:docChg>
  </pc:docChgLst>
  <pc:docChgLst>
    <pc:chgData name="Liam Morden" userId="S::lmord071@uottawa.ca::93761272-e958-47bd-a047-5952229592b0" providerId="AD" clId="Web-{E067A3F7-0561-B170-519D-BDDA18465B0E}"/>
    <pc:docChg chg="modSld">
      <pc:chgData name="Liam Morden" userId="S::lmord071@uottawa.ca::93761272-e958-47bd-a047-5952229592b0" providerId="AD" clId="Web-{E067A3F7-0561-B170-519D-BDDA18465B0E}" dt="2024-11-28T17:12:23.292" v="129" actId="14100"/>
      <pc:docMkLst>
        <pc:docMk/>
      </pc:docMkLst>
      <pc:sldChg chg="modSp">
        <pc:chgData name="Liam Morden" userId="S::lmord071@uottawa.ca::93761272-e958-47bd-a047-5952229592b0" providerId="AD" clId="Web-{E067A3F7-0561-B170-519D-BDDA18465B0E}" dt="2024-11-28T17:12:23.292" v="129" actId="14100"/>
        <pc:sldMkLst>
          <pc:docMk/>
          <pc:sldMk cId="4052889244" sldId="271"/>
        </pc:sldMkLst>
      </pc:sldChg>
      <pc:sldChg chg="modSp">
        <pc:chgData name="Liam Morden" userId="S::lmord071@uottawa.ca::93761272-e958-47bd-a047-5952229592b0" providerId="AD" clId="Web-{E067A3F7-0561-B170-519D-BDDA18465B0E}" dt="2024-11-28T17:12:09.136" v="128" actId="20577"/>
        <pc:sldMkLst>
          <pc:docMk/>
          <pc:sldMk cId="3575588535" sldId="278"/>
        </pc:sldMkLst>
        <pc:spChg chg="mod">
          <ac:chgData name="Liam Morden" userId="S::lmord071@uottawa.ca::93761272-e958-47bd-a047-5952229592b0" providerId="AD" clId="Web-{E067A3F7-0561-B170-519D-BDDA18465B0E}" dt="2024-11-28T17:12:09.136" v="128" actId="20577"/>
          <ac:spMkLst>
            <pc:docMk/>
            <pc:sldMk cId="3575588535" sldId="278"/>
            <ac:spMk id="3" creationId="{36AC9322-1EFA-5552-6913-AB2CDAD7C12A}"/>
          </ac:spMkLst>
        </pc:spChg>
      </pc:sldChg>
    </pc:docChg>
  </pc:docChgLst>
  <pc:docChgLst>
    <pc:chgData name="Sofia Paravan" userId="S::spara093@uottawa.ca::416f5510-1340-4ca8-9659-43f0fa8f07c1" providerId="AD" clId="Web-{F8C2CFEA-897F-AE40-FA63-311A5E858C08}"/>
    <pc:docChg chg="modSld">
      <pc:chgData name="Sofia Paravan" userId="S::spara093@uottawa.ca::416f5510-1340-4ca8-9659-43f0fa8f07c1" providerId="AD" clId="Web-{F8C2CFEA-897F-AE40-FA63-311A5E858C08}" dt="2024-11-29T14:48:17.067" v="29"/>
      <pc:docMkLst>
        <pc:docMk/>
      </pc:docMkLst>
      <pc:sldChg chg="addSp delSp modSp">
        <pc:chgData name="Sofia Paravan" userId="S::spara093@uottawa.ca::416f5510-1340-4ca8-9659-43f0fa8f07c1" providerId="AD" clId="Web-{F8C2CFEA-897F-AE40-FA63-311A5E858C08}" dt="2024-11-29T14:48:17.067" v="29"/>
        <pc:sldMkLst>
          <pc:docMk/>
          <pc:sldMk cId="175464426" sldId="274"/>
        </pc:sldMkLst>
        <pc:spChg chg="mod">
          <ac:chgData name="Sofia Paravan" userId="S::spara093@uottawa.ca::416f5510-1340-4ca8-9659-43f0fa8f07c1" providerId="AD" clId="Web-{F8C2CFEA-897F-AE40-FA63-311A5E858C08}" dt="2024-11-29T13:45:31.638" v="24" actId="20577"/>
          <ac:spMkLst>
            <pc:docMk/>
            <pc:sldMk cId="175464426" sldId="274"/>
            <ac:spMk id="6" creationId="{BD047999-2CD3-3500-9430-FDE062E84A8B}"/>
          </ac:spMkLst>
        </pc:spChg>
        <pc:spChg chg="add del">
          <ac:chgData name="Sofia Paravan" userId="S::spara093@uottawa.ca::416f5510-1340-4ca8-9659-43f0fa8f07c1" providerId="AD" clId="Web-{F8C2CFEA-897F-AE40-FA63-311A5E858C08}" dt="2024-11-29T14:07:44.796" v="26"/>
          <ac:spMkLst>
            <pc:docMk/>
            <pc:sldMk cId="175464426" sldId="274"/>
            <ac:spMk id="9" creationId="{021DC570-6A49-AC1D-7000-05B7C1323EC6}"/>
          </ac:spMkLst>
        </pc:spChg>
        <pc:spChg chg="mod">
          <ac:chgData name="Sofia Paravan" userId="S::spara093@uottawa.ca::416f5510-1340-4ca8-9659-43f0fa8f07c1" providerId="AD" clId="Web-{F8C2CFEA-897F-AE40-FA63-311A5E858C08}" dt="2024-11-29T13:40:03.872" v="12" actId="20577"/>
          <ac:spMkLst>
            <pc:docMk/>
            <pc:sldMk cId="175464426" sldId="274"/>
            <ac:spMk id="10" creationId="{F421D6D6-CF87-3C4A-5689-72AF428215BC}"/>
          </ac:spMkLst>
        </pc:spChg>
        <pc:spChg chg="del">
          <ac:chgData name="Sofia Paravan" userId="S::spara093@uottawa.ca::416f5510-1340-4ca8-9659-43f0fa8f07c1" providerId="AD" clId="Web-{F8C2CFEA-897F-AE40-FA63-311A5E858C08}" dt="2024-11-29T14:48:12.192" v="27"/>
          <ac:spMkLst>
            <pc:docMk/>
            <pc:sldMk cId="175464426" sldId="274"/>
            <ac:spMk id="11" creationId="{B5C79749-0925-9611-2CA9-B783EBB9B339}"/>
          </ac:spMkLst>
        </pc:spChg>
        <pc:spChg chg="add mod">
          <ac:chgData name="Sofia Paravan" userId="S::spara093@uottawa.ca::416f5510-1340-4ca8-9659-43f0fa8f07c1" providerId="AD" clId="Web-{F8C2CFEA-897F-AE40-FA63-311A5E858C08}" dt="2024-11-29T14:48:17.067" v="29"/>
          <ac:spMkLst>
            <pc:docMk/>
            <pc:sldMk cId="175464426" sldId="274"/>
            <ac:spMk id="15" creationId="{03F6BD32-4A23-54E3-7924-C4B02AFA902E}"/>
          </ac:spMkLst>
        </pc:spChg>
        <pc:graphicFrameChg chg="add del mod ord modGraphic">
          <ac:chgData name="Sofia Paravan" userId="S::spara093@uottawa.ca::416f5510-1340-4ca8-9659-43f0fa8f07c1" providerId="AD" clId="Web-{F8C2CFEA-897F-AE40-FA63-311A5E858C08}" dt="2024-11-29T14:07:44.796" v="26"/>
          <ac:graphicFrameMkLst>
            <pc:docMk/>
            <pc:sldMk cId="175464426" sldId="274"/>
            <ac:graphicFrameMk id="13" creationId="{ACE83435-DA80-DC23-80F2-BB4F7DA16DD7}"/>
          </ac:graphicFrameMkLst>
        </pc:graphicFrameChg>
        <pc:picChg chg="add del mod ord">
          <ac:chgData name="Sofia Paravan" userId="S::spara093@uottawa.ca::416f5510-1340-4ca8-9659-43f0fa8f07c1" providerId="AD" clId="Web-{F8C2CFEA-897F-AE40-FA63-311A5E858C08}" dt="2024-11-29T14:48:17.067" v="29"/>
          <ac:picMkLst>
            <pc:docMk/>
            <pc:sldMk cId="175464426" sldId="274"/>
            <ac:picMk id="13" creationId="{59816E02-1822-610B-4CC6-3D15C2922915}"/>
          </ac:picMkLst>
        </pc:picChg>
      </pc:sldChg>
      <pc:sldChg chg="modSp">
        <pc:chgData name="Sofia Paravan" userId="S::spara093@uottawa.ca::416f5510-1340-4ca8-9659-43f0fa8f07c1" providerId="AD" clId="Web-{F8C2CFEA-897F-AE40-FA63-311A5E858C08}" dt="2024-11-29T13:43:01.608" v="20" actId="20577"/>
        <pc:sldMkLst>
          <pc:docMk/>
          <pc:sldMk cId="3348576610" sldId="282"/>
        </pc:sldMkLst>
        <pc:spChg chg="mod">
          <ac:chgData name="Sofia Paravan" userId="S::spara093@uottawa.ca::416f5510-1340-4ca8-9659-43f0fa8f07c1" providerId="AD" clId="Web-{F8C2CFEA-897F-AE40-FA63-311A5E858C08}" dt="2024-11-29T13:42:47.374" v="18" actId="20577"/>
          <ac:spMkLst>
            <pc:docMk/>
            <pc:sldMk cId="3348576610" sldId="282"/>
            <ac:spMk id="8" creationId="{4D0F1C74-2F20-2865-2D98-B67415BAB041}"/>
          </ac:spMkLst>
        </pc:spChg>
        <pc:spChg chg="mod">
          <ac:chgData name="Sofia Paravan" userId="S::spara093@uottawa.ca::416f5510-1340-4ca8-9659-43f0fa8f07c1" providerId="AD" clId="Web-{F8C2CFEA-897F-AE40-FA63-311A5E858C08}" dt="2024-11-29T13:43:01.608" v="20" actId="20577"/>
          <ac:spMkLst>
            <pc:docMk/>
            <pc:sldMk cId="3348576610" sldId="282"/>
            <ac:spMk id="10" creationId="{9A4728A3-AC18-9951-8538-5E62978FBA89}"/>
          </ac:spMkLst>
        </pc:spChg>
      </pc:sldChg>
    </pc:docChg>
  </pc:docChgLst>
  <pc:docChgLst>
    <pc:chgData name="Oliver William Tudor Price" userId="S::otudo020@uottawa.ca::bc759f3a-6044-48a3-9f29-ba18c5525582" providerId="AD" clId="Web-{B872121D-4CC3-4255-8D64-FA6831B999D6}"/>
    <pc:docChg chg="addSld delSld modSld sldOrd">
      <pc:chgData name="Oliver William Tudor Price" userId="S::otudo020@uottawa.ca::bc759f3a-6044-48a3-9f29-ba18c5525582" providerId="AD" clId="Web-{B872121D-4CC3-4255-8D64-FA6831B999D6}" dt="2024-11-30T12:18:56.389" v="593" actId="20577"/>
      <pc:docMkLst>
        <pc:docMk/>
      </pc:docMkLst>
      <pc:sldChg chg="modSp">
        <pc:chgData name="Oliver William Tudor Price" userId="S::otudo020@uottawa.ca::bc759f3a-6044-48a3-9f29-ba18c5525582" providerId="AD" clId="Web-{B872121D-4CC3-4255-8D64-FA6831B999D6}" dt="2024-11-30T02:25:13.077" v="47"/>
        <pc:sldMkLst>
          <pc:docMk/>
          <pc:sldMk cId="4028445805" sldId="258"/>
        </pc:sldMkLst>
        <pc:graphicFrameChg chg="mod modGraphic">
          <ac:chgData name="Oliver William Tudor Price" userId="S::otudo020@uottawa.ca::bc759f3a-6044-48a3-9f29-ba18c5525582" providerId="AD" clId="Web-{B872121D-4CC3-4255-8D64-FA6831B999D6}" dt="2024-11-30T02:25:13.077" v="47"/>
          <ac:graphicFrameMkLst>
            <pc:docMk/>
            <pc:sldMk cId="4028445805" sldId="258"/>
            <ac:graphicFrameMk id="30" creationId="{B193158D-0499-7DE8-C232-7084B7490925}"/>
          </ac:graphicFrameMkLst>
        </pc:graphicFrameChg>
      </pc:sldChg>
      <pc:sldChg chg="addSp delSp modSp">
        <pc:chgData name="Oliver William Tudor Price" userId="S::otudo020@uottawa.ca::bc759f3a-6044-48a3-9f29-ba18c5525582" providerId="AD" clId="Web-{B872121D-4CC3-4255-8D64-FA6831B999D6}" dt="2024-11-30T12:18:56.389" v="593" actId="20577"/>
        <pc:sldMkLst>
          <pc:docMk/>
          <pc:sldMk cId="1226342917" sldId="275"/>
        </pc:sldMkLst>
        <pc:spChg chg="mod">
          <ac:chgData name="Oliver William Tudor Price" userId="S::otudo020@uottawa.ca::bc759f3a-6044-48a3-9f29-ba18c5525582" providerId="AD" clId="Web-{B872121D-4CC3-4255-8D64-FA6831B999D6}" dt="2024-11-30T12:10:02.522" v="543" actId="20577"/>
          <ac:spMkLst>
            <pc:docMk/>
            <pc:sldMk cId="1226342917" sldId="275"/>
            <ac:spMk id="2" creationId="{FD9A1634-A018-C072-0D09-75BC1CD6C877}"/>
          </ac:spMkLst>
        </pc:spChg>
        <pc:spChg chg="mod">
          <ac:chgData name="Oliver William Tudor Price" userId="S::otudo020@uottawa.ca::bc759f3a-6044-48a3-9f29-ba18c5525582" providerId="AD" clId="Web-{B872121D-4CC3-4255-8D64-FA6831B999D6}" dt="2024-11-30T09:30:49.779" v="198" actId="20577"/>
          <ac:spMkLst>
            <pc:docMk/>
            <pc:sldMk cId="1226342917" sldId="275"/>
            <ac:spMk id="6" creationId="{D1DF412F-0154-505D-2CC5-EC81272516D0}"/>
          </ac:spMkLst>
        </pc:spChg>
        <pc:spChg chg="mod">
          <ac:chgData name="Oliver William Tudor Price" userId="S::otudo020@uottawa.ca::bc759f3a-6044-48a3-9f29-ba18c5525582" providerId="AD" clId="Web-{B872121D-4CC3-4255-8D64-FA6831B999D6}" dt="2024-11-30T12:11:33.148" v="559" actId="20577"/>
          <ac:spMkLst>
            <pc:docMk/>
            <pc:sldMk cId="1226342917" sldId="275"/>
            <ac:spMk id="8" creationId="{4FED8BEA-20AA-E4E9-2E17-AD8DDFF3B600}"/>
          </ac:spMkLst>
        </pc:spChg>
        <pc:spChg chg="mod">
          <ac:chgData name="Oliver William Tudor Price" userId="S::otudo020@uottawa.ca::bc759f3a-6044-48a3-9f29-ba18c5525582" providerId="AD" clId="Web-{B872121D-4CC3-4255-8D64-FA6831B999D6}" dt="2024-11-30T12:18:56.389" v="593" actId="20577"/>
          <ac:spMkLst>
            <pc:docMk/>
            <pc:sldMk cId="1226342917" sldId="275"/>
            <ac:spMk id="9" creationId="{7A2E6A70-A6A7-48B1-D19E-6C3789D8980B}"/>
          </ac:spMkLst>
        </pc:spChg>
        <pc:spChg chg="del">
          <ac:chgData name="Oliver William Tudor Price" userId="S::otudo020@uottawa.ca::bc759f3a-6044-48a3-9f29-ba18c5525582" providerId="AD" clId="Web-{B872121D-4CC3-4255-8D64-FA6831B999D6}" dt="2024-11-30T09:17:27.360" v="157"/>
          <ac:spMkLst>
            <pc:docMk/>
            <pc:sldMk cId="1226342917" sldId="275"/>
            <ac:spMk id="10" creationId="{5D7EA90A-7FE7-621D-C5FC-C561F0EC208F}"/>
          </ac:spMkLst>
        </pc:spChg>
        <pc:spChg chg="del">
          <ac:chgData name="Oliver William Tudor Price" userId="S::otudo020@uottawa.ca::bc759f3a-6044-48a3-9f29-ba18c5525582" providerId="AD" clId="Web-{B872121D-4CC3-4255-8D64-FA6831B999D6}" dt="2024-11-30T10:18:40.387" v="296"/>
          <ac:spMkLst>
            <pc:docMk/>
            <pc:sldMk cId="1226342917" sldId="275"/>
            <ac:spMk id="11" creationId="{3D1F224A-FE2B-B05C-B745-2FD4B785DAF9}"/>
          </ac:spMkLst>
        </pc:spChg>
        <pc:spChg chg="mod">
          <ac:chgData name="Oliver William Tudor Price" userId="S::otudo020@uottawa.ca::bc759f3a-6044-48a3-9f29-ba18c5525582" providerId="AD" clId="Web-{B872121D-4CC3-4255-8D64-FA6831B999D6}" dt="2024-11-30T10:40:42.363" v="410" actId="20577"/>
          <ac:spMkLst>
            <pc:docMk/>
            <pc:sldMk cId="1226342917" sldId="275"/>
            <ac:spMk id="12" creationId="{FFACA11F-12E3-F50B-A0A6-951FAEA9E4C1}"/>
          </ac:spMkLst>
        </pc:spChg>
        <pc:picChg chg="add mod ord">
          <ac:chgData name="Oliver William Tudor Price" userId="S::otudo020@uottawa.ca::bc759f3a-6044-48a3-9f29-ba18c5525582" providerId="AD" clId="Web-{B872121D-4CC3-4255-8D64-FA6831B999D6}" dt="2024-11-30T10:20:00.952" v="302" actId="14100"/>
          <ac:picMkLst>
            <pc:docMk/>
            <pc:sldMk cId="1226342917" sldId="275"/>
            <ac:picMk id="10" creationId="{F86E6DD7-3840-D724-3FC9-A5E724296FA9}"/>
          </ac:picMkLst>
        </pc:picChg>
        <pc:picChg chg="add mod ord">
          <ac:chgData name="Oliver William Tudor Price" userId="S::otudo020@uottawa.ca::bc759f3a-6044-48a3-9f29-ba18c5525582" providerId="AD" clId="Web-{B872121D-4CC3-4255-8D64-FA6831B999D6}" dt="2024-11-30T10:19:51.029" v="300" actId="14100"/>
          <ac:picMkLst>
            <pc:docMk/>
            <pc:sldMk cId="1226342917" sldId="275"/>
            <ac:picMk id="13" creationId="{B6157275-976D-3259-D14A-33419502F540}"/>
          </ac:picMkLst>
        </pc:picChg>
      </pc:sldChg>
      <pc:sldChg chg="modSp ord">
        <pc:chgData name="Oliver William Tudor Price" userId="S::otudo020@uottawa.ca::bc759f3a-6044-48a3-9f29-ba18c5525582" providerId="AD" clId="Web-{B872121D-4CC3-4255-8D64-FA6831B999D6}" dt="2024-11-30T12:06:43.035" v="542"/>
        <pc:sldMkLst>
          <pc:docMk/>
          <pc:sldMk cId="2650396413" sldId="283"/>
        </pc:sldMkLst>
        <pc:spChg chg="mod">
          <ac:chgData name="Oliver William Tudor Price" userId="S::otudo020@uottawa.ca::bc759f3a-6044-48a3-9f29-ba18c5525582" providerId="AD" clId="Web-{B872121D-4CC3-4255-8D64-FA6831B999D6}" dt="2024-11-30T12:00:25.936" v="511" actId="20577"/>
          <ac:spMkLst>
            <pc:docMk/>
            <pc:sldMk cId="2650396413" sldId="283"/>
            <ac:spMk id="14" creationId="{C8ECCDBA-EA37-8F29-4E2D-C962C7432702}"/>
          </ac:spMkLst>
        </pc:spChg>
        <pc:spChg chg="mod">
          <ac:chgData name="Oliver William Tudor Price" userId="S::otudo020@uottawa.ca::bc759f3a-6044-48a3-9f29-ba18c5525582" providerId="AD" clId="Web-{B872121D-4CC3-4255-8D64-FA6831B999D6}" dt="2024-11-30T12:00:43.077" v="517" actId="20577"/>
          <ac:spMkLst>
            <pc:docMk/>
            <pc:sldMk cId="2650396413" sldId="283"/>
            <ac:spMk id="15" creationId="{FC8286B6-71E3-CEE8-CAF0-0DB325B575F5}"/>
          </ac:spMkLst>
        </pc:spChg>
        <pc:spChg chg="mod">
          <ac:chgData name="Oliver William Tudor Price" userId="S::otudo020@uottawa.ca::bc759f3a-6044-48a3-9f29-ba18c5525582" providerId="AD" clId="Web-{B872121D-4CC3-4255-8D64-FA6831B999D6}" dt="2024-11-30T12:01:04.780" v="521" actId="20577"/>
          <ac:spMkLst>
            <pc:docMk/>
            <pc:sldMk cId="2650396413" sldId="283"/>
            <ac:spMk id="16" creationId="{076FF929-6278-54F2-E013-FBC559643D21}"/>
          </ac:spMkLst>
        </pc:spChg>
        <pc:spChg chg="mod">
          <ac:chgData name="Oliver William Tudor Price" userId="S::otudo020@uottawa.ca::bc759f3a-6044-48a3-9f29-ba18c5525582" providerId="AD" clId="Web-{B872121D-4CC3-4255-8D64-FA6831B999D6}" dt="2024-11-30T12:05:20.456" v="529" actId="20577"/>
          <ac:spMkLst>
            <pc:docMk/>
            <pc:sldMk cId="2650396413" sldId="283"/>
            <ac:spMk id="17" creationId="{A8FC7630-9FB2-BD9B-15B7-2B922F5BF8B0}"/>
          </ac:spMkLst>
        </pc:spChg>
        <pc:spChg chg="mod">
          <ac:chgData name="Oliver William Tudor Price" userId="S::otudo020@uottawa.ca::bc759f3a-6044-48a3-9f29-ba18c5525582" providerId="AD" clId="Web-{B872121D-4CC3-4255-8D64-FA6831B999D6}" dt="2024-11-30T12:00:19.686" v="509" actId="20577"/>
          <ac:spMkLst>
            <pc:docMk/>
            <pc:sldMk cId="2650396413" sldId="283"/>
            <ac:spMk id="18" creationId="{8C947625-6F05-0704-5D7D-EB24A5980B9C}"/>
          </ac:spMkLst>
        </pc:spChg>
      </pc:sldChg>
      <pc:sldChg chg="del">
        <pc:chgData name="Oliver William Tudor Price" userId="S::otudo020@uottawa.ca::bc759f3a-6044-48a3-9f29-ba18c5525582" providerId="AD" clId="Web-{B872121D-4CC3-4255-8D64-FA6831B999D6}" dt="2024-11-30T10:53:41.962" v="414"/>
        <pc:sldMkLst>
          <pc:docMk/>
          <pc:sldMk cId="1334572874" sldId="284"/>
        </pc:sldMkLst>
      </pc:sldChg>
      <pc:sldChg chg="addSp delSp modSp add del ord replId">
        <pc:chgData name="Oliver William Tudor Price" userId="S::otudo020@uottawa.ca::bc759f3a-6044-48a3-9f29-ba18c5525582" providerId="AD" clId="Web-{B872121D-4CC3-4255-8D64-FA6831B999D6}" dt="2024-11-30T10:32:40.346" v="401"/>
        <pc:sldMkLst>
          <pc:docMk/>
          <pc:sldMk cId="227928678" sldId="415"/>
        </pc:sldMkLst>
        <pc:spChg chg="mod">
          <ac:chgData name="Oliver William Tudor Price" userId="S::otudo020@uottawa.ca::bc759f3a-6044-48a3-9f29-ba18c5525582" providerId="AD" clId="Web-{B872121D-4CC3-4255-8D64-FA6831B999D6}" dt="2024-11-30T09:37:34.351" v="294" actId="20577"/>
          <ac:spMkLst>
            <pc:docMk/>
            <pc:sldMk cId="227928678" sldId="415"/>
            <ac:spMk id="2" creationId="{FD9A1634-A018-C072-0D09-75BC1CD6C877}"/>
          </ac:spMkLst>
        </pc:spChg>
        <pc:spChg chg="mod">
          <ac:chgData name="Oliver William Tudor Price" userId="S::otudo020@uottawa.ca::bc759f3a-6044-48a3-9f29-ba18c5525582" providerId="AD" clId="Web-{B872121D-4CC3-4255-8D64-FA6831B999D6}" dt="2024-11-30T05:09:36.586" v="58" actId="20577"/>
          <ac:spMkLst>
            <pc:docMk/>
            <pc:sldMk cId="227928678" sldId="415"/>
            <ac:spMk id="4" creationId="{D2516299-D54C-D164-FC7A-7CC0407C79DA}"/>
          </ac:spMkLst>
        </pc:spChg>
        <pc:spChg chg="del">
          <ac:chgData name="Oliver William Tudor Price" userId="S::otudo020@uottawa.ca::bc759f3a-6044-48a3-9f29-ba18c5525582" providerId="AD" clId="Web-{B872121D-4CC3-4255-8D64-FA6831B999D6}" dt="2024-11-30T10:22:11.283" v="306"/>
          <ac:spMkLst>
            <pc:docMk/>
            <pc:sldMk cId="227928678" sldId="415"/>
            <ac:spMk id="5" creationId="{3E851F24-B609-C5BD-3F3A-EC1BA57E8906}"/>
          </ac:spMkLst>
        </pc:spChg>
        <pc:spChg chg="add del mod">
          <ac:chgData name="Oliver William Tudor Price" userId="S::otudo020@uottawa.ca::bc759f3a-6044-48a3-9f29-ba18c5525582" providerId="AD" clId="Web-{B872121D-4CC3-4255-8D64-FA6831B999D6}" dt="2024-11-30T09:21:43.912" v="180" actId="20577"/>
          <ac:spMkLst>
            <pc:docMk/>
            <pc:sldMk cId="227928678" sldId="415"/>
            <ac:spMk id="6" creationId="{D1DF412F-0154-505D-2CC5-EC81272516D0}"/>
          </ac:spMkLst>
        </pc:spChg>
        <pc:spChg chg="mod">
          <ac:chgData name="Oliver William Tudor Price" userId="S::otudo020@uottawa.ca::bc759f3a-6044-48a3-9f29-ba18c5525582" providerId="AD" clId="Web-{B872121D-4CC3-4255-8D64-FA6831B999D6}" dt="2024-11-30T05:32:14.584" v="73" actId="20577"/>
          <ac:spMkLst>
            <pc:docMk/>
            <pc:sldMk cId="227928678" sldId="415"/>
            <ac:spMk id="7" creationId="{5A1778D6-70DD-9406-8BF4-92AE14F1BD82}"/>
          </ac:spMkLst>
        </pc:spChg>
        <pc:spChg chg="mod">
          <ac:chgData name="Oliver William Tudor Price" userId="S::otudo020@uottawa.ca::bc759f3a-6044-48a3-9f29-ba18c5525582" providerId="AD" clId="Web-{B872121D-4CC3-4255-8D64-FA6831B999D6}" dt="2024-11-30T09:23:12.102" v="185" actId="20577"/>
          <ac:spMkLst>
            <pc:docMk/>
            <pc:sldMk cId="227928678" sldId="415"/>
            <ac:spMk id="8" creationId="{4FED8BEA-20AA-E4E9-2E17-AD8DDFF3B600}"/>
          </ac:spMkLst>
        </pc:spChg>
        <pc:spChg chg="del">
          <ac:chgData name="Oliver William Tudor Price" userId="S::otudo020@uottawa.ca::bc759f3a-6044-48a3-9f29-ba18c5525582" providerId="AD" clId="Web-{B872121D-4CC3-4255-8D64-FA6831B999D6}" dt="2024-11-30T10:22:11.158" v="305"/>
          <ac:spMkLst>
            <pc:docMk/>
            <pc:sldMk cId="227928678" sldId="415"/>
            <ac:spMk id="9" creationId="{7A2E6A70-A6A7-48B1-D19E-6C3789D8980B}"/>
          </ac:spMkLst>
        </pc:spChg>
        <pc:spChg chg="del">
          <ac:chgData name="Oliver William Tudor Price" userId="S::otudo020@uottawa.ca::bc759f3a-6044-48a3-9f29-ba18c5525582" providerId="AD" clId="Web-{B872121D-4CC3-4255-8D64-FA6831B999D6}" dt="2024-11-30T09:23:20.493" v="187"/>
          <ac:spMkLst>
            <pc:docMk/>
            <pc:sldMk cId="227928678" sldId="415"/>
            <ac:spMk id="10" creationId="{5D7EA90A-7FE7-621D-C5FC-C561F0EC208F}"/>
          </ac:spMkLst>
        </pc:spChg>
        <pc:spChg chg="del">
          <ac:chgData name="Oliver William Tudor Price" userId="S::otudo020@uottawa.ca::bc759f3a-6044-48a3-9f29-ba18c5525582" providerId="AD" clId="Web-{B872121D-4CC3-4255-8D64-FA6831B999D6}" dt="2024-11-30T07:30:00.808" v="124"/>
          <ac:spMkLst>
            <pc:docMk/>
            <pc:sldMk cId="227928678" sldId="415"/>
            <ac:spMk id="11" creationId="{3D1F224A-FE2B-B05C-B745-2FD4B785DAF9}"/>
          </ac:spMkLst>
        </pc:spChg>
        <pc:spChg chg="add del mod">
          <ac:chgData name="Oliver William Tudor Price" userId="S::otudo020@uottawa.ca::bc759f3a-6044-48a3-9f29-ba18c5525582" providerId="AD" clId="Web-{B872121D-4CC3-4255-8D64-FA6831B999D6}" dt="2024-11-30T10:22:15.408" v="307"/>
          <ac:spMkLst>
            <pc:docMk/>
            <pc:sldMk cId="227928678" sldId="415"/>
            <ac:spMk id="11" creationId="{FE582B3D-32EB-2A75-6F20-2A8A0D1521E5}"/>
          </ac:spMkLst>
        </pc:spChg>
        <pc:spChg chg="del mod">
          <ac:chgData name="Oliver William Tudor Price" userId="S::otudo020@uottawa.ca::bc759f3a-6044-48a3-9f29-ba18c5525582" providerId="AD" clId="Web-{B872121D-4CC3-4255-8D64-FA6831B999D6}" dt="2024-11-30T10:22:11.158" v="304"/>
          <ac:spMkLst>
            <pc:docMk/>
            <pc:sldMk cId="227928678" sldId="415"/>
            <ac:spMk id="12" creationId="{FFACA11F-12E3-F50B-A0A6-951FAEA9E4C1}"/>
          </ac:spMkLst>
        </pc:spChg>
        <pc:spChg chg="add del mod">
          <ac:chgData name="Oliver William Tudor Price" userId="S::otudo020@uottawa.ca::bc759f3a-6044-48a3-9f29-ba18c5525582" providerId="AD" clId="Web-{B872121D-4CC3-4255-8D64-FA6831B999D6}" dt="2024-11-30T08:22:56.574" v="148"/>
          <ac:spMkLst>
            <pc:docMk/>
            <pc:sldMk cId="227928678" sldId="415"/>
            <ac:spMk id="13" creationId="{973FA0F3-93E3-A6A8-4329-0455E628E32D}"/>
          </ac:spMkLst>
        </pc:spChg>
        <pc:spChg chg="add del mod">
          <ac:chgData name="Oliver William Tudor Price" userId="S::otudo020@uottawa.ca::bc759f3a-6044-48a3-9f29-ba18c5525582" providerId="AD" clId="Web-{B872121D-4CC3-4255-8D64-FA6831B999D6}" dt="2024-11-30T10:22:11.033" v="303"/>
          <ac:spMkLst>
            <pc:docMk/>
            <pc:sldMk cId="227928678" sldId="415"/>
            <ac:spMk id="13" creationId="{A1823CDC-72B0-19F9-935A-4F170BA5A740}"/>
          </ac:spMkLst>
        </pc:spChg>
        <pc:spChg chg="add del mod">
          <ac:chgData name="Oliver William Tudor Price" userId="S::otudo020@uottawa.ca::bc759f3a-6044-48a3-9f29-ba18c5525582" providerId="AD" clId="Web-{B872121D-4CC3-4255-8D64-FA6831B999D6}" dt="2024-11-30T07:38:02.062" v="133"/>
          <ac:spMkLst>
            <pc:docMk/>
            <pc:sldMk cId="227928678" sldId="415"/>
            <ac:spMk id="15" creationId="{E96A030D-91C1-F652-F6C4-7C8FE17AC5E3}"/>
          </ac:spMkLst>
        </pc:spChg>
        <pc:spChg chg="add del mod">
          <ac:chgData name="Oliver William Tudor Price" userId="S::otudo020@uottawa.ca::bc759f3a-6044-48a3-9f29-ba18c5525582" providerId="AD" clId="Web-{B872121D-4CC3-4255-8D64-FA6831B999D6}" dt="2024-11-30T10:24:46.381" v="361" actId="20577"/>
          <ac:spMkLst>
            <pc:docMk/>
            <pc:sldMk cId="227928678" sldId="415"/>
            <ac:spMk id="16" creationId="{B893F3B6-E208-25EA-C77B-7D58A60017FC}"/>
          </ac:spMkLst>
        </pc:spChg>
        <pc:spChg chg="add del mod">
          <ac:chgData name="Oliver William Tudor Price" userId="S::otudo020@uottawa.ca::bc759f3a-6044-48a3-9f29-ba18c5525582" providerId="AD" clId="Web-{B872121D-4CC3-4255-8D64-FA6831B999D6}" dt="2024-11-30T10:24:30.537" v="358"/>
          <ac:spMkLst>
            <pc:docMk/>
            <pc:sldMk cId="227928678" sldId="415"/>
            <ac:spMk id="18" creationId="{945AFA4B-8A09-A40B-A8B6-2106C7B2C979}"/>
          </ac:spMkLst>
        </pc:spChg>
        <pc:spChg chg="add del mod">
          <ac:chgData name="Oliver William Tudor Price" userId="S::otudo020@uottawa.ca::bc759f3a-6044-48a3-9f29-ba18c5525582" providerId="AD" clId="Web-{B872121D-4CC3-4255-8D64-FA6831B999D6}" dt="2024-11-30T10:24:30.537" v="357"/>
          <ac:spMkLst>
            <pc:docMk/>
            <pc:sldMk cId="227928678" sldId="415"/>
            <ac:spMk id="20" creationId="{8BDF8CC9-93DB-63F0-D7FE-F7F0A267A5FD}"/>
          </ac:spMkLst>
        </pc:spChg>
        <pc:spChg chg="add del mod">
          <ac:chgData name="Oliver William Tudor Price" userId="S::otudo020@uottawa.ca::bc759f3a-6044-48a3-9f29-ba18c5525582" providerId="AD" clId="Web-{B872121D-4CC3-4255-8D64-FA6831B999D6}" dt="2024-11-30T10:24:30.537" v="356"/>
          <ac:spMkLst>
            <pc:docMk/>
            <pc:sldMk cId="227928678" sldId="415"/>
            <ac:spMk id="22" creationId="{9733F8A1-61AD-4D69-268E-CC623F5E10BA}"/>
          </ac:spMkLst>
        </pc:spChg>
        <pc:spChg chg="add del mod">
          <ac:chgData name="Oliver William Tudor Price" userId="S::otudo020@uottawa.ca::bc759f3a-6044-48a3-9f29-ba18c5525582" providerId="AD" clId="Web-{B872121D-4CC3-4255-8D64-FA6831B999D6}" dt="2024-11-30T10:24:30.537" v="355"/>
          <ac:spMkLst>
            <pc:docMk/>
            <pc:sldMk cId="227928678" sldId="415"/>
            <ac:spMk id="24" creationId="{068E9C2F-6CDC-A0E7-327B-2CA0A2740452}"/>
          </ac:spMkLst>
        </pc:spChg>
        <pc:spChg chg="add del mod">
          <ac:chgData name="Oliver William Tudor Price" userId="S::otudo020@uottawa.ca::bc759f3a-6044-48a3-9f29-ba18c5525582" providerId="AD" clId="Web-{B872121D-4CC3-4255-8D64-FA6831B999D6}" dt="2024-11-30T10:24:30.537" v="354"/>
          <ac:spMkLst>
            <pc:docMk/>
            <pc:sldMk cId="227928678" sldId="415"/>
            <ac:spMk id="26" creationId="{FAD1D3CB-0700-F98A-D739-47782F5CEC29}"/>
          </ac:spMkLst>
        </pc:spChg>
        <pc:spChg chg="add del mod">
          <ac:chgData name="Oliver William Tudor Price" userId="S::otudo020@uottawa.ca::bc759f3a-6044-48a3-9f29-ba18c5525582" providerId="AD" clId="Web-{B872121D-4CC3-4255-8D64-FA6831B999D6}" dt="2024-11-30T10:24:30.537" v="353"/>
          <ac:spMkLst>
            <pc:docMk/>
            <pc:sldMk cId="227928678" sldId="415"/>
            <ac:spMk id="28" creationId="{C2475A16-C3B3-1A37-CEF7-F5EE4098D95E}"/>
          </ac:spMkLst>
        </pc:spChg>
        <pc:spChg chg="add del mod">
          <ac:chgData name="Oliver William Tudor Price" userId="S::otudo020@uottawa.ca::bc759f3a-6044-48a3-9f29-ba18c5525582" providerId="AD" clId="Web-{B872121D-4CC3-4255-8D64-FA6831B999D6}" dt="2024-11-30T10:24:30.521" v="352"/>
          <ac:spMkLst>
            <pc:docMk/>
            <pc:sldMk cId="227928678" sldId="415"/>
            <ac:spMk id="30" creationId="{7801BBA4-3B36-E2C6-109A-439960A871B8}"/>
          </ac:spMkLst>
        </pc:spChg>
        <pc:spChg chg="add del mod">
          <ac:chgData name="Oliver William Tudor Price" userId="S::otudo020@uottawa.ca::bc759f3a-6044-48a3-9f29-ba18c5525582" providerId="AD" clId="Web-{B872121D-4CC3-4255-8D64-FA6831B999D6}" dt="2024-11-30T10:24:30.521" v="351"/>
          <ac:spMkLst>
            <pc:docMk/>
            <pc:sldMk cId="227928678" sldId="415"/>
            <ac:spMk id="32" creationId="{D7A83F52-A88E-8567-207B-BA5678D24CA2}"/>
          </ac:spMkLst>
        </pc:spChg>
        <pc:spChg chg="add del mod">
          <ac:chgData name="Oliver William Tudor Price" userId="S::otudo020@uottawa.ca::bc759f3a-6044-48a3-9f29-ba18c5525582" providerId="AD" clId="Web-{B872121D-4CC3-4255-8D64-FA6831B999D6}" dt="2024-11-30T10:24:30.521" v="350"/>
          <ac:spMkLst>
            <pc:docMk/>
            <pc:sldMk cId="227928678" sldId="415"/>
            <ac:spMk id="34" creationId="{D67BF123-A936-7B0F-F09B-217B060A099C}"/>
          </ac:spMkLst>
        </pc:spChg>
        <pc:spChg chg="add del mod">
          <ac:chgData name="Oliver William Tudor Price" userId="S::otudo020@uottawa.ca::bc759f3a-6044-48a3-9f29-ba18c5525582" providerId="AD" clId="Web-{B872121D-4CC3-4255-8D64-FA6831B999D6}" dt="2024-11-30T10:24:30.521" v="349"/>
          <ac:spMkLst>
            <pc:docMk/>
            <pc:sldMk cId="227928678" sldId="415"/>
            <ac:spMk id="36" creationId="{FB3E699B-6739-9C7B-1E23-F1559159682E}"/>
          </ac:spMkLst>
        </pc:spChg>
        <pc:spChg chg="add del mod">
          <ac:chgData name="Oliver William Tudor Price" userId="S::otudo020@uottawa.ca::bc759f3a-6044-48a3-9f29-ba18c5525582" providerId="AD" clId="Web-{B872121D-4CC3-4255-8D64-FA6831B999D6}" dt="2024-11-30T10:24:30.521" v="348"/>
          <ac:spMkLst>
            <pc:docMk/>
            <pc:sldMk cId="227928678" sldId="415"/>
            <ac:spMk id="38" creationId="{FC6FADDC-86F7-577C-2A62-F5E76AB2F062}"/>
          </ac:spMkLst>
        </pc:spChg>
        <pc:picChg chg="add del mod ord modCrop">
          <ac:chgData name="Oliver William Tudor Price" userId="S::otudo020@uottawa.ca::bc759f3a-6044-48a3-9f29-ba18c5525582" providerId="AD" clId="Web-{B872121D-4CC3-4255-8D64-FA6831B999D6}" dt="2024-11-30T07:37:50.655" v="132"/>
          <ac:picMkLst>
            <pc:docMk/>
            <pc:sldMk cId="227928678" sldId="415"/>
            <ac:picMk id="13" creationId="{20A410D1-E851-A520-FB17-5BC53872074E}"/>
          </ac:picMkLst>
        </pc:picChg>
        <pc:picChg chg="add del mod ord">
          <ac:chgData name="Oliver William Tudor Price" userId="S::otudo020@uottawa.ca::bc759f3a-6044-48a3-9f29-ba18c5525582" providerId="AD" clId="Web-{B872121D-4CC3-4255-8D64-FA6831B999D6}" dt="2024-11-30T08:22:53.558" v="147"/>
          <ac:picMkLst>
            <pc:docMk/>
            <pc:sldMk cId="227928678" sldId="415"/>
            <ac:picMk id="14" creationId="{3C019BCF-85A1-C43D-28DE-C7FA0971A1B9}"/>
          </ac:picMkLst>
        </pc:picChg>
        <pc:picChg chg="add mod ord">
          <ac:chgData name="Oliver William Tudor Price" userId="S::otudo020@uottawa.ca::bc759f3a-6044-48a3-9f29-ba18c5525582" providerId="AD" clId="Web-{B872121D-4CC3-4255-8D64-FA6831B999D6}" dt="2024-11-30T09:23:56.119" v="192" actId="1076"/>
          <ac:picMkLst>
            <pc:docMk/>
            <pc:sldMk cId="227928678" sldId="415"/>
            <ac:picMk id="14" creationId="{DF56544E-EE09-F13C-6521-9360EB4C959C}"/>
          </ac:picMkLst>
        </pc:picChg>
        <pc:picChg chg="add del mod ord">
          <ac:chgData name="Oliver William Tudor Price" userId="S::otudo020@uottawa.ca::bc759f3a-6044-48a3-9f29-ba18c5525582" providerId="AD" clId="Web-{B872121D-4CC3-4255-8D64-FA6831B999D6}" dt="2024-11-30T09:23:17.430" v="186"/>
          <ac:picMkLst>
            <pc:docMk/>
            <pc:sldMk cId="227928678" sldId="415"/>
            <ac:picMk id="15" creationId="{481347E6-D76F-BF94-A736-AFD803E22466}"/>
          </ac:picMkLst>
        </pc:picChg>
        <pc:picChg chg="add del mod ord modCrop">
          <ac:chgData name="Oliver William Tudor Price" userId="S::otudo020@uottawa.ca::bc759f3a-6044-48a3-9f29-ba18c5525582" providerId="AD" clId="Web-{B872121D-4CC3-4255-8D64-FA6831B999D6}" dt="2024-11-30T08:22:17.855" v="143"/>
          <ac:picMkLst>
            <pc:docMk/>
            <pc:sldMk cId="227928678" sldId="415"/>
            <ac:picMk id="16" creationId="{E1D0BD84-3E68-82DE-4239-31A4B003FFA2}"/>
          </ac:picMkLst>
        </pc:picChg>
      </pc:sldChg>
      <pc:sldChg chg="addSp delSp modSp new">
        <pc:chgData name="Oliver William Tudor Price" userId="S::otudo020@uottawa.ca::bc759f3a-6044-48a3-9f29-ba18c5525582" providerId="AD" clId="Web-{B872121D-4CC3-4255-8D64-FA6831B999D6}" dt="2024-11-30T12:05:57.128" v="537" actId="20577"/>
        <pc:sldMkLst>
          <pc:docMk/>
          <pc:sldMk cId="3665691461" sldId="416"/>
        </pc:sldMkLst>
        <pc:spChg chg="mod">
          <ac:chgData name="Oliver William Tudor Price" userId="S::otudo020@uottawa.ca::bc759f3a-6044-48a3-9f29-ba18c5525582" providerId="AD" clId="Web-{B872121D-4CC3-4255-8D64-FA6831B999D6}" dt="2024-11-30T12:05:57.128" v="537" actId="20577"/>
          <ac:spMkLst>
            <pc:docMk/>
            <pc:sldMk cId="3665691461" sldId="416"/>
            <ac:spMk id="2" creationId="{90A36DE7-9074-B245-21A3-7482731C46D7}"/>
          </ac:spMkLst>
        </pc:spChg>
        <pc:spChg chg="mod">
          <ac:chgData name="Oliver William Tudor Price" userId="S::otudo020@uottawa.ca::bc759f3a-6044-48a3-9f29-ba18c5525582" providerId="AD" clId="Web-{B872121D-4CC3-4255-8D64-FA6831B999D6}" dt="2024-11-30T10:31:01.515" v="397" actId="20577"/>
          <ac:spMkLst>
            <pc:docMk/>
            <pc:sldMk cId="3665691461" sldId="416"/>
            <ac:spMk id="4" creationId="{5D6920A6-6E11-E217-FDC2-1DC710476803}"/>
          </ac:spMkLst>
        </pc:spChg>
        <pc:spChg chg="del mod">
          <ac:chgData name="Oliver William Tudor Price" userId="S::otudo020@uottawa.ca::bc759f3a-6044-48a3-9f29-ba18c5525582" providerId="AD" clId="Web-{B872121D-4CC3-4255-8D64-FA6831B999D6}" dt="2024-11-30T10:30:27.280" v="395"/>
          <ac:spMkLst>
            <pc:docMk/>
            <pc:sldMk cId="3665691461" sldId="416"/>
            <ac:spMk id="5" creationId="{9DC5D19D-054C-BAB0-F542-4004F479E165}"/>
          </ac:spMkLst>
        </pc:spChg>
        <pc:spChg chg="mod">
          <ac:chgData name="Oliver William Tudor Price" userId="S::otudo020@uottawa.ca::bc759f3a-6044-48a3-9f29-ba18c5525582" providerId="AD" clId="Web-{B872121D-4CC3-4255-8D64-FA6831B999D6}" dt="2024-11-30T10:29:57.842" v="383" actId="20577"/>
          <ac:spMkLst>
            <pc:docMk/>
            <pc:sldMk cId="3665691461" sldId="416"/>
            <ac:spMk id="6" creationId="{6BA1DBDC-5118-634B-FD6C-370C95FF886F}"/>
          </ac:spMkLst>
        </pc:spChg>
        <pc:spChg chg="mod">
          <ac:chgData name="Oliver William Tudor Price" userId="S::otudo020@uottawa.ca::bc759f3a-6044-48a3-9f29-ba18c5525582" providerId="AD" clId="Web-{B872121D-4CC3-4255-8D64-FA6831B999D6}" dt="2024-11-30T10:29:35.216" v="381" actId="20577"/>
          <ac:spMkLst>
            <pc:docMk/>
            <pc:sldMk cId="3665691461" sldId="416"/>
            <ac:spMk id="7" creationId="{BDCC5412-AFF3-849C-B02A-735CC2F589C4}"/>
          </ac:spMkLst>
        </pc:spChg>
        <pc:spChg chg="mod">
          <ac:chgData name="Oliver William Tudor Price" userId="S::otudo020@uottawa.ca::bc759f3a-6044-48a3-9f29-ba18c5525582" providerId="AD" clId="Web-{B872121D-4CC3-4255-8D64-FA6831B999D6}" dt="2024-11-30T10:27:11.541" v="363" actId="20577"/>
          <ac:spMkLst>
            <pc:docMk/>
            <pc:sldMk cId="3665691461" sldId="416"/>
            <ac:spMk id="8" creationId="{BEC611ED-7B45-F272-FD64-335C933CC7CA}"/>
          </ac:spMkLst>
        </pc:spChg>
        <pc:spChg chg="del">
          <ac:chgData name="Oliver William Tudor Price" userId="S::otudo020@uottawa.ca::bc759f3a-6044-48a3-9f29-ba18c5525582" providerId="AD" clId="Web-{B872121D-4CC3-4255-8D64-FA6831B999D6}" dt="2024-11-30T10:28:50.199" v="374"/>
          <ac:spMkLst>
            <pc:docMk/>
            <pc:sldMk cId="3665691461" sldId="416"/>
            <ac:spMk id="9" creationId="{81BB0A58-80A8-19B5-9094-73A972462DBD}"/>
          </ac:spMkLst>
        </pc:spChg>
        <pc:spChg chg="mod">
          <ac:chgData name="Oliver William Tudor Price" userId="S::otudo020@uottawa.ca::bc759f3a-6044-48a3-9f29-ba18c5525582" providerId="AD" clId="Web-{B872121D-4CC3-4255-8D64-FA6831B999D6}" dt="2024-11-30T10:29:22.028" v="379" actId="20577"/>
          <ac:spMkLst>
            <pc:docMk/>
            <pc:sldMk cId="3665691461" sldId="416"/>
            <ac:spMk id="10" creationId="{4D9189AD-16C9-FA63-5DA3-43E4863098FD}"/>
          </ac:spMkLst>
        </pc:spChg>
        <pc:spChg chg="add">
          <ac:chgData name="Oliver William Tudor Price" userId="S::otudo020@uottawa.ca::bc759f3a-6044-48a3-9f29-ba18c5525582" providerId="AD" clId="Web-{B872121D-4CC3-4255-8D64-FA6831B999D6}" dt="2024-11-30T10:30:09.311" v="384"/>
          <ac:spMkLst>
            <pc:docMk/>
            <pc:sldMk cId="3665691461" sldId="416"/>
            <ac:spMk id="17" creationId="{E42B959C-0A5E-46F9-CB50-D503CF9EB13E}"/>
          </ac:spMkLst>
        </pc:spChg>
        <pc:spChg chg="add">
          <ac:chgData name="Oliver William Tudor Price" userId="S::otudo020@uottawa.ca::bc759f3a-6044-48a3-9f29-ba18c5525582" providerId="AD" clId="Web-{B872121D-4CC3-4255-8D64-FA6831B999D6}" dt="2024-11-30T10:30:09.342" v="385"/>
          <ac:spMkLst>
            <pc:docMk/>
            <pc:sldMk cId="3665691461" sldId="416"/>
            <ac:spMk id="19" creationId="{980C443F-47B4-2CCE-C2AD-5005E5D9B56C}"/>
          </ac:spMkLst>
        </pc:spChg>
        <pc:spChg chg="add">
          <ac:chgData name="Oliver William Tudor Price" userId="S::otudo020@uottawa.ca::bc759f3a-6044-48a3-9f29-ba18c5525582" providerId="AD" clId="Web-{B872121D-4CC3-4255-8D64-FA6831B999D6}" dt="2024-11-30T10:30:09.389" v="386"/>
          <ac:spMkLst>
            <pc:docMk/>
            <pc:sldMk cId="3665691461" sldId="416"/>
            <ac:spMk id="21" creationId="{81A15792-46AF-0B72-F567-6F651C3D45DA}"/>
          </ac:spMkLst>
        </pc:spChg>
        <pc:spChg chg="add">
          <ac:chgData name="Oliver William Tudor Price" userId="S::otudo020@uottawa.ca::bc759f3a-6044-48a3-9f29-ba18c5525582" providerId="AD" clId="Web-{B872121D-4CC3-4255-8D64-FA6831B999D6}" dt="2024-11-30T10:30:09.436" v="387"/>
          <ac:spMkLst>
            <pc:docMk/>
            <pc:sldMk cId="3665691461" sldId="416"/>
            <ac:spMk id="23" creationId="{03345ED2-903E-C5FD-46DD-85B1C2BE13B5}"/>
          </ac:spMkLst>
        </pc:spChg>
        <pc:spChg chg="add">
          <ac:chgData name="Oliver William Tudor Price" userId="S::otudo020@uottawa.ca::bc759f3a-6044-48a3-9f29-ba18c5525582" providerId="AD" clId="Web-{B872121D-4CC3-4255-8D64-FA6831B999D6}" dt="2024-11-30T10:30:09.483" v="388"/>
          <ac:spMkLst>
            <pc:docMk/>
            <pc:sldMk cId="3665691461" sldId="416"/>
            <ac:spMk id="25" creationId="{7A807DF1-9C86-F0B7-F69E-1A0306AB7D83}"/>
          </ac:spMkLst>
        </pc:spChg>
        <pc:spChg chg="add mod">
          <ac:chgData name="Oliver William Tudor Price" userId="S::otudo020@uottawa.ca::bc759f3a-6044-48a3-9f29-ba18c5525582" providerId="AD" clId="Web-{B872121D-4CC3-4255-8D64-FA6831B999D6}" dt="2024-11-30T12:03:47.439" v="527" actId="20577"/>
          <ac:spMkLst>
            <pc:docMk/>
            <pc:sldMk cId="3665691461" sldId="416"/>
            <ac:spMk id="27" creationId="{767D9355-2260-8DD9-E42F-861B8980031D}"/>
          </ac:spMkLst>
        </pc:spChg>
        <pc:spChg chg="add mod">
          <ac:chgData name="Oliver William Tudor Price" userId="S::otudo020@uottawa.ca::bc759f3a-6044-48a3-9f29-ba18c5525582" providerId="AD" clId="Web-{B872121D-4CC3-4255-8D64-FA6831B999D6}" dt="2024-11-30T12:00:50.936" v="519" actId="20577"/>
          <ac:spMkLst>
            <pc:docMk/>
            <pc:sldMk cId="3665691461" sldId="416"/>
            <ac:spMk id="29" creationId="{B5D9D7EC-CFC1-FC29-548B-A94D2FC8E1FB}"/>
          </ac:spMkLst>
        </pc:spChg>
        <pc:spChg chg="add mod">
          <ac:chgData name="Oliver William Tudor Price" userId="S::otudo020@uottawa.ca::bc759f3a-6044-48a3-9f29-ba18c5525582" providerId="AD" clId="Web-{B872121D-4CC3-4255-8D64-FA6831B999D6}" dt="2024-11-30T12:02:42.594" v="525" actId="20577"/>
          <ac:spMkLst>
            <pc:docMk/>
            <pc:sldMk cId="3665691461" sldId="416"/>
            <ac:spMk id="31" creationId="{60AB680C-22FB-6C8B-5D71-B099328EB32E}"/>
          </ac:spMkLst>
        </pc:spChg>
        <pc:spChg chg="add mod">
          <ac:chgData name="Oliver William Tudor Price" userId="S::otudo020@uottawa.ca::bc759f3a-6044-48a3-9f29-ba18c5525582" providerId="AD" clId="Web-{B872121D-4CC3-4255-8D64-FA6831B999D6}" dt="2024-11-30T12:05:25.940" v="531" actId="20577"/>
          <ac:spMkLst>
            <pc:docMk/>
            <pc:sldMk cId="3665691461" sldId="416"/>
            <ac:spMk id="33" creationId="{A85D69F9-68A5-28FF-EF51-8C011465039C}"/>
          </ac:spMkLst>
        </pc:spChg>
        <pc:spChg chg="add mod">
          <ac:chgData name="Oliver William Tudor Price" userId="S::otudo020@uottawa.ca::bc759f3a-6044-48a3-9f29-ba18c5525582" providerId="AD" clId="Web-{B872121D-4CC3-4255-8D64-FA6831B999D6}" dt="2024-11-30T11:57:56.996" v="497" actId="20577"/>
          <ac:spMkLst>
            <pc:docMk/>
            <pc:sldMk cId="3665691461" sldId="416"/>
            <ac:spMk id="35" creationId="{A48E665D-3813-A43F-C6D0-C1FADC3B1EDD}"/>
          </ac:spMkLst>
        </pc:spChg>
        <pc:picChg chg="add del mod">
          <ac:chgData name="Oliver William Tudor Price" userId="S::otudo020@uottawa.ca::bc759f3a-6044-48a3-9f29-ba18c5525582" providerId="AD" clId="Web-{B872121D-4CC3-4255-8D64-FA6831B999D6}" dt="2024-11-30T10:28:03.964" v="370"/>
          <ac:picMkLst>
            <pc:docMk/>
            <pc:sldMk cId="3665691461" sldId="416"/>
            <ac:picMk id="12" creationId="{AB212C8F-949D-45B4-67AA-DEAF94CA62FF}"/>
          </ac:picMkLst>
        </pc:picChg>
        <pc:picChg chg="add del mod">
          <ac:chgData name="Oliver William Tudor Price" userId="S::otudo020@uottawa.ca::bc759f3a-6044-48a3-9f29-ba18c5525582" providerId="AD" clId="Web-{B872121D-4CC3-4255-8D64-FA6831B999D6}" dt="2024-11-30T10:28:12.245" v="373"/>
          <ac:picMkLst>
            <pc:docMk/>
            <pc:sldMk cId="3665691461" sldId="416"/>
            <ac:picMk id="14" creationId="{64A162C5-3040-3C3F-95DF-C6D51AA7B9B4}"/>
          </ac:picMkLst>
        </pc:picChg>
        <pc:picChg chg="add mod ord">
          <ac:chgData name="Oliver William Tudor Price" userId="S::otudo020@uottawa.ca::bc759f3a-6044-48a3-9f29-ba18c5525582" providerId="AD" clId="Web-{B872121D-4CC3-4255-8D64-FA6831B999D6}" dt="2024-11-30T10:31:59.892" v="398" actId="1076"/>
          <ac:picMkLst>
            <pc:docMk/>
            <pc:sldMk cId="3665691461" sldId="416"/>
            <ac:picMk id="15" creationId="{3FAC2904-8665-1B30-A069-C5BCEF74B89B}"/>
          </ac:picMkLst>
        </pc:picChg>
      </pc:sldChg>
      <pc:sldChg chg="addSp delSp modSp new">
        <pc:chgData name="Oliver William Tudor Price" userId="S::otudo020@uottawa.ca::bc759f3a-6044-48a3-9f29-ba18c5525582" providerId="AD" clId="Web-{B872121D-4CC3-4255-8D64-FA6831B999D6}" dt="2024-11-30T12:15:21.526" v="572" actId="20577"/>
        <pc:sldMkLst>
          <pc:docMk/>
          <pc:sldMk cId="4175319372" sldId="417"/>
        </pc:sldMkLst>
        <pc:spChg chg="mod">
          <ac:chgData name="Oliver William Tudor Price" userId="S::otudo020@uottawa.ca::bc759f3a-6044-48a3-9f29-ba18c5525582" providerId="AD" clId="Web-{B872121D-4CC3-4255-8D64-FA6831B999D6}" dt="2024-11-30T12:10:14.006" v="547" actId="20577"/>
          <ac:spMkLst>
            <pc:docMk/>
            <pc:sldMk cId="4175319372" sldId="417"/>
            <ac:spMk id="2" creationId="{FB8D8F00-F358-EF16-8326-71AF57481E33}"/>
          </ac:spMkLst>
        </pc:spChg>
        <pc:spChg chg="mod">
          <ac:chgData name="Oliver William Tudor Price" userId="S::otudo020@uottawa.ca::bc759f3a-6044-48a3-9f29-ba18c5525582" providerId="AD" clId="Web-{B872121D-4CC3-4255-8D64-FA6831B999D6}" dt="2024-11-30T10:53:06.242" v="413" actId="20577"/>
          <ac:spMkLst>
            <pc:docMk/>
            <pc:sldMk cId="4175319372" sldId="417"/>
            <ac:spMk id="4" creationId="{B82D943D-B201-1EDD-4710-ADEACBF2A949}"/>
          </ac:spMkLst>
        </pc:spChg>
        <pc:spChg chg="mod">
          <ac:chgData name="Oliver William Tudor Price" userId="S::otudo020@uottawa.ca::bc759f3a-6044-48a3-9f29-ba18c5525582" providerId="AD" clId="Web-{B872121D-4CC3-4255-8D64-FA6831B999D6}" dt="2024-11-30T11:10:19.817" v="472" actId="20577"/>
          <ac:spMkLst>
            <pc:docMk/>
            <pc:sldMk cId="4175319372" sldId="417"/>
            <ac:spMk id="5" creationId="{BF2C472B-272C-7928-032A-C000FCF9A932}"/>
          </ac:spMkLst>
        </pc:spChg>
        <pc:spChg chg="mod">
          <ac:chgData name="Oliver William Tudor Price" userId="S::otudo020@uottawa.ca::bc759f3a-6044-48a3-9f29-ba18c5525582" providerId="AD" clId="Web-{B872121D-4CC3-4255-8D64-FA6831B999D6}" dt="2024-11-30T11:02:46.148" v="469" actId="20577"/>
          <ac:spMkLst>
            <pc:docMk/>
            <pc:sldMk cId="4175319372" sldId="417"/>
            <ac:spMk id="6" creationId="{F37DA76B-E4BF-E7CD-9BE5-3EC619FCA8EA}"/>
          </ac:spMkLst>
        </pc:spChg>
        <pc:spChg chg="mod">
          <ac:chgData name="Oliver William Tudor Price" userId="S::otudo020@uottawa.ca::bc759f3a-6044-48a3-9f29-ba18c5525582" providerId="AD" clId="Web-{B872121D-4CC3-4255-8D64-FA6831B999D6}" dt="2024-11-30T10:57:02.248" v="431" actId="20577"/>
          <ac:spMkLst>
            <pc:docMk/>
            <pc:sldMk cId="4175319372" sldId="417"/>
            <ac:spMk id="7" creationId="{9ED11A8D-0466-F352-7CBD-360D89A389F7}"/>
          </ac:spMkLst>
        </pc:spChg>
        <pc:spChg chg="mod">
          <ac:chgData name="Oliver William Tudor Price" userId="S::otudo020@uottawa.ca::bc759f3a-6044-48a3-9f29-ba18c5525582" providerId="AD" clId="Web-{B872121D-4CC3-4255-8D64-FA6831B999D6}" dt="2024-11-30T11:51:59.179" v="490" actId="20577"/>
          <ac:spMkLst>
            <pc:docMk/>
            <pc:sldMk cId="4175319372" sldId="417"/>
            <ac:spMk id="8" creationId="{26BD7678-9D47-DE14-758E-5B51DE52801D}"/>
          </ac:spMkLst>
        </pc:spChg>
        <pc:spChg chg="mod">
          <ac:chgData name="Oliver William Tudor Price" userId="S::otudo020@uottawa.ca::bc759f3a-6044-48a3-9f29-ba18c5525582" providerId="AD" clId="Web-{B872121D-4CC3-4255-8D64-FA6831B999D6}" dt="2024-11-30T11:12:37.586" v="473" actId="20577"/>
          <ac:spMkLst>
            <pc:docMk/>
            <pc:sldMk cId="4175319372" sldId="417"/>
            <ac:spMk id="9" creationId="{EC4CCE5E-D5FD-A614-22E2-323563D8739D}"/>
          </ac:spMkLst>
        </pc:spChg>
        <pc:spChg chg="del">
          <ac:chgData name="Oliver William Tudor Price" userId="S::otudo020@uottawa.ca::bc759f3a-6044-48a3-9f29-ba18c5525582" providerId="AD" clId="Web-{B872121D-4CC3-4255-8D64-FA6831B999D6}" dt="2024-11-30T11:49:34.927" v="474"/>
          <ac:spMkLst>
            <pc:docMk/>
            <pc:sldMk cId="4175319372" sldId="417"/>
            <ac:spMk id="10" creationId="{05B976AF-D1A5-0D5C-8E53-A0DA440DBB55}"/>
          </ac:spMkLst>
        </pc:spChg>
        <pc:spChg chg="mod">
          <ac:chgData name="Oliver William Tudor Price" userId="S::otudo020@uottawa.ca::bc759f3a-6044-48a3-9f29-ba18c5525582" providerId="AD" clId="Web-{B872121D-4CC3-4255-8D64-FA6831B999D6}" dt="2024-11-30T12:15:21.526" v="572" actId="20577"/>
          <ac:spMkLst>
            <pc:docMk/>
            <pc:sldMk cId="4175319372" sldId="417"/>
            <ac:spMk id="11" creationId="{2E05B0CA-2FAC-D7D3-92F3-1CC609E58824}"/>
          </ac:spMkLst>
        </pc:spChg>
        <pc:picChg chg="add mod ord">
          <ac:chgData name="Oliver William Tudor Price" userId="S::otudo020@uottawa.ca::bc759f3a-6044-48a3-9f29-ba18c5525582" providerId="AD" clId="Web-{B872121D-4CC3-4255-8D64-FA6831B999D6}" dt="2024-11-30T11:49:54.115" v="477" actId="14100"/>
          <ac:picMkLst>
            <pc:docMk/>
            <pc:sldMk cId="4175319372" sldId="417"/>
            <ac:picMk id="13" creationId="{28B8C2C8-888B-A368-C754-0A116FF2B76F}"/>
          </ac:picMkLst>
        </pc:picChg>
      </pc:sldChg>
    </pc:docChg>
  </pc:docChgLst>
  <pc:docChgLst>
    <pc:chgData name="Corey Yuan-Zhen Cao" userId="894c8f18-9551-4354-8c83-83a52876c78b" providerId="ADAL" clId="{822035F6-0D12-423D-8A37-F3DC56A02409}"/>
    <pc:docChg chg="undo custSel modSld">
      <pc:chgData name="Corey Yuan-Zhen Cao" userId="894c8f18-9551-4354-8c83-83a52876c78b" providerId="ADAL" clId="{822035F6-0D12-423D-8A37-F3DC56A02409}" dt="2024-12-02T01:09:08.504" v="9333" actId="20577"/>
      <pc:docMkLst>
        <pc:docMk/>
      </pc:docMkLst>
      <pc:sldChg chg="modSp mod">
        <pc:chgData name="Corey Yuan-Zhen Cao" userId="894c8f18-9551-4354-8c83-83a52876c78b" providerId="ADAL" clId="{822035F6-0D12-423D-8A37-F3DC56A02409}" dt="2024-12-02T01:09:08.504" v="9333" actId="20577"/>
        <pc:sldMkLst>
          <pc:docMk/>
          <pc:sldMk cId="4028445805" sldId="258"/>
        </pc:sldMkLst>
        <pc:graphicFrameChg chg="modGraphic">
          <ac:chgData name="Corey Yuan-Zhen Cao" userId="894c8f18-9551-4354-8c83-83a52876c78b" providerId="ADAL" clId="{822035F6-0D12-423D-8A37-F3DC56A02409}" dt="2024-12-02T01:09:08.504" v="9333" actId="20577"/>
          <ac:graphicFrameMkLst>
            <pc:docMk/>
            <pc:sldMk cId="4028445805" sldId="258"/>
            <ac:graphicFrameMk id="28" creationId="{12D60DE0-F191-BA4C-B982-0B01A910E199}"/>
          </ac:graphicFrameMkLst>
        </pc:graphicFrameChg>
      </pc:sldChg>
      <pc:sldChg chg="modSp mod">
        <pc:chgData name="Corey Yuan-Zhen Cao" userId="894c8f18-9551-4354-8c83-83a52876c78b" providerId="ADAL" clId="{822035F6-0D12-423D-8A37-F3DC56A02409}" dt="2024-11-30T18:56:31.468" v="4422" actId="20577"/>
        <pc:sldMkLst>
          <pc:docMk/>
          <pc:sldMk cId="395644326" sldId="272"/>
        </pc:sldMkLst>
        <pc:spChg chg="mod">
          <ac:chgData name="Corey Yuan-Zhen Cao" userId="894c8f18-9551-4354-8c83-83a52876c78b" providerId="ADAL" clId="{822035F6-0D12-423D-8A37-F3DC56A02409}" dt="2024-11-29T18:55:59.321" v="1439" actId="20577"/>
          <ac:spMkLst>
            <pc:docMk/>
            <pc:sldMk cId="395644326" sldId="272"/>
            <ac:spMk id="2" creationId="{D509BB0B-4477-2B23-85B4-4BC6073C2CDF}"/>
          </ac:spMkLst>
        </pc:spChg>
        <pc:spChg chg="mod">
          <ac:chgData name="Corey Yuan-Zhen Cao" userId="894c8f18-9551-4354-8c83-83a52876c78b" providerId="ADAL" clId="{822035F6-0D12-423D-8A37-F3DC56A02409}" dt="2024-11-29T21:30:56.314" v="1863" actId="208"/>
          <ac:spMkLst>
            <pc:docMk/>
            <pc:sldMk cId="395644326" sldId="272"/>
            <ac:spMk id="30" creationId="{65F29D99-C21C-99B0-FA63-426F2E0432C3}"/>
          </ac:spMkLst>
        </pc:spChg>
        <pc:spChg chg="mod">
          <ac:chgData name="Corey Yuan-Zhen Cao" userId="894c8f18-9551-4354-8c83-83a52876c78b" providerId="ADAL" clId="{822035F6-0D12-423D-8A37-F3DC56A02409}" dt="2024-11-29T21:31:43.597" v="1866" actId="208"/>
          <ac:spMkLst>
            <pc:docMk/>
            <pc:sldMk cId="395644326" sldId="272"/>
            <ac:spMk id="31" creationId="{8C59E5B2-022D-4AB4-73F2-CAAF51EC0FE6}"/>
          </ac:spMkLst>
        </pc:spChg>
        <pc:spChg chg="mod">
          <ac:chgData name="Corey Yuan-Zhen Cao" userId="894c8f18-9551-4354-8c83-83a52876c78b" providerId="ADAL" clId="{822035F6-0D12-423D-8A37-F3DC56A02409}" dt="2024-11-29T21:29:30.885" v="1853" actId="1076"/>
          <ac:spMkLst>
            <pc:docMk/>
            <pc:sldMk cId="395644326" sldId="272"/>
            <ac:spMk id="36" creationId="{640D61D7-C9AF-7F7D-0AE3-7E7CF61E6C0F}"/>
          </ac:spMkLst>
        </pc:spChg>
        <pc:spChg chg="mod">
          <ac:chgData name="Corey Yuan-Zhen Cao" userId="894c8f18-9551-4354-8c83-83a52876c78b" providerId="ADAL" clId="{822035F6-0D12-423D-8A37-F3DC56A02409}" dt="2024-11-29T21:31:28.780" v="1865" actId="208"/>
          <ac:spMkLst>
            <pc:docMk/>
            <pc:sldMk cId="395644326" sldId="272"/>
            <ac:spMk id="37" creationId="{A02EE780-B119-198F-FE88-E3BB619545F1}"/>
          </ac:spMkLst>
        </pc:spChg>
        <pc:spChg chg="mod">
          <ac:chgData name="Corey Yuan-Zhen Cao" userId="894c8f18-9551-4354-8c83-83a52876c78b" providerId="ADAL" clId="{822035F6-0D12-423D-8A37-F3DC56A02409}" dt="2024-11-29T21:31:10.864" v="1864" actId="208"/>
          <ac:spMkLst>
            <pc:docMk/>
            <pc:sldMk cId="395644326" sldId="272"/>
            <ac:spMk id="40" creationId="{8B5CC70F-E81E-24D5-DAFC-C66E32D04200}"/>
          </ac:spMkLst>
        </pc:spChg>
        <pc:spChg chg="mod">
          <ac:chgData name="Corey Yuan-Zhen Cao" userId="894c8f18-9551-4354-8c83-83a52876c78b" providerId="ADAL" clId="{822035F6-0D12-423D-8A37-F3DC56A02409}" dt="2024-11-29T21:31:50.867" v="1867" actId="208"/>
          <ac:spMkLst>
            <pc:docMk/>
            <pc:sldMk cId="395644326" sldId="272"/>
            <ac:spMk id="42" creationId="{3CA301D6-4EC3-F0E3-4A84-C0F947D3FE16}"/>
          </ac:spMkLst>
        </pc:spChg>
        <pc:graphicFrameChg chg="mod modGraphic">
          <ac:chgData name="Corey Yuan-Zhen Cao" userId="894c8f18-9551-4354-8c83-83a52876c78b" providerId="ADAL" clId="{822035F6-0D12-423D-8A37-F3DC56A02409}" dt="2024-11-30T18:56:31.468" v="4422" actId="20577"/>
          <ac:graphicFrameMkLst>
            <pc:docMk/>
            <pc:sldMk cId="395644326" sldId="272"/>
            <ac:graphicFrameMk id="43" creationId="{9C8BE00B-4A37-A415-40F3-D297AFE329DB}"/>
          </ac:graphicFrameMkLst>
        </pc:graphicFrameChg>
      </pc:sldChg>
      <pc:sldChg chg="modSp mod">
        <pc:chgData name="Corey Yuan-Zhen Cao" userId="894c8f18-9551-4354-8c83-83a52876c78b" providerId="ADAL" clId="{822035F6-0D12-423D-8A37-F3DC56A02409}" dt="2024-11-30T04:11:30.229" v="3094" actId="20577"/>
        <pc:sldMkLst>
          <pc:docMk/>
          <pc:sldMk cId="2137920764" sldId="273"/>
        </pc:sldMkLst>
        <pc:spChg chg="mod">
          <ac:chgData name="Corey Yuan-Zhen Cao" userId="894c8f18-9551-4354-8c83-83a52876c78b" providerId="ADAL" clId="{822035F6-0D12-423D-8A37-F3DC56A02409}" dt="2024-11-30T03:35:21.082" v="2433" actId="20577"/>
          <ac:spMkLst>
            <pc:docMk/>
            <pc:sldMk cId="2137920764" sldId="273"/>
            <ac:spMk id="5" creationId="{654026D9-A04A-A461-5EBA-DE7373312F96}"/>
          </ac:spMkLst>
        </pc:spChg>
        <pc:spChg chg="mod">
          <ac:chgData name="Corey Yuan-Zhen Cao" userId="894c8f18-9551-4354-8c83-83a52876c78b" providerId="ADAL" clId="{822035F6-0D12-423D-8A37-F3DC56A02409}" dt="2024-11-29T21:46:49.039" v="1896" actId="20577"/>
          <ac:spMkLst>
            <pc:docMk/>
            <pc:sldMk cId="2137920764" sldId="273"/>
            <ac:spMk id="7" creationId="{FA0ADB8F-66F2-4967-9C3A-40DDB35049F8}"/>
          </ac:spMkLst>
        </pc:spChg>
        <pc:spChg chg="mod">
          <ac:chgData name="Corey Yuan-Zhen Cao" userId="894c8f18-9551-4354-8c83-83a52876c78b" providerId="ADAL" clId="{822035F6-0D12-423D-8A37-F3DC56A02409}" dt="2024-11-30T03:37:25.659" v="2695" actId="20577"/>
          <ac:spMkLst>
            <pc:docMk/>
            <pc:sldMk cId="2137920764" sldId="273"/>
            <ac:spMk id="8" creationId="{25C33CC8-74F4-4415-B0A3-3F638B241654}"/>
          </ac:spMkLst>
        </pc:spChg>
        <pc:spChg chg="mod">
          <ac:chgData name="Corey Yuan-Zhen Cao" userId="894c8f18-9551-4354-8c83-83a52876c78b" providerId="ADAL" clId="{822035F6-0D12-423D-8A37-F3DC56A02409}" dt="2024-11-29T21:47:35.330" v="1944" actId="20577"/>
          <ac:spMkLst>
            <pc:docMk/>
            <pc:sldMk cId="2137920764" sldId="273"/>
            <ac:spMk id="9" creationId="{F4940870-9172-4937-8A78-9F5AA7119D32}"/>
          </ac:spMkLst>
        </pc:spChg>
        <pc:spChg chg="mod">
          <ac:chgData name="Corey Yuan-Zhen Cao" userId="894c8f18-9551-4354-8c83-83a52876c78b" providerId="ADAL" clId="{822035F6-0D12-423D-8A37-F3DC56A02409}" dt="2024-11-30T04:11:30.229" v="3094" actId="20577"/>
          <ac:spMkLst>
            <pc:docMk/>
            <pc:sldMk cId="2137920764" sldId="273"/>
            <ac:spMk id="10" creationId="{5DE3D6FE-D38B-490C-AEBC-41D20B998742}"/>
          </ac:spMkLst>
        </pc:spChg>
        <pc:spChg chg="mod">
          <ac:chgData name="Corey Yuan-Zhen Cao" userId="894c8f18-9551-4354-8c83-83a52876c78b" providerId="ADAL" clId="{822035F6-0D12-423D-8A37-F3DC56A02409}" dt="2024-11-30T03:10:56.781" v="2025" actId="20577"/>
          <ac:spMkLst>
            <pc:docMk/>
            <pc:sldMk cId="2137920764" sldId="273"/>
            <ac:spMk id="11" creationId="{77EFCDF7-B917-4D6D-BF10-54B88EBE519E}"/>
          </ac:spMkLst>
        </pc:spChg>
        <pc:spChg chg="mod">
          <ac:chgData name="Corey Yuan-Zhen Cao" userId="894c8f18-9551-4354-8c83-83a52876c78b" providerId="ADAL" clId="{822035F6-0D12-423D-8A37-F3DC56A02409}" dt="2024-11-30T03:39:27.741" v="3085" actId="20577"/>
          <ac:spMkLst>
            <pc:docMk/>
            <pc:sldMk cId="2137920764" sldId="273"/>
            <ac:spMk id="12" creationId="{EF88B294-1C02-411D-9A2E-81C4A27B0B82}"/>
          </ac:spMkLst>
        </pc:spChg>
      </pc:sldChg>
      <pc:sldChg chg="addSp delSp modSp mod">
        <pc:chgData name="Corey Yuan-Zhen Cao" userId="894c8f18-9551-4354-8c83-83a52876c78b" providerId="ADAL" clId="{822035F6-0D12-423D-8A37-F3DC56A02409}" dt="2024-12-01T02:39:12.463" v="9312" actId="20577"/>
        <pc:sldMkLst>
          <pc:docMk/>
          <pc:sldMk cId="2613300315" sldId="277"/>
        </pc:sldMkLst>
        <pc:spChg chg="mod">
          <ac:chgData name="Corey Yuan-Zhen Cao" userId="894c8f18-9551-4354-8c83-83a52876c78b" providerId="ADAL" clId="{822035F6-0D12-423D-8A37-F3DC56A02409}" dt="2024-12-01T01:48:58.796" v="8674" actId="20577"/>
          <ac:spMkLst>
            <pc:docMk/>
            <pc:sldMk cId="2613300315" sldId="277"/>
            <ac:spMk id="2" creationId="{8E67FF71-3FAF-1037-FE7F-D75BD2B752E2}"/>
          </ac:spMkLst>
        </pc:spChg>
        <pc:spChg chg="mod">
          <ac:chgData name="Corey Yuan-Zhen Cao" userId="894c8f18-9551-4354-8c83-83a52876c78b" providerId="ADAL" clId="{822035F6-0D12-423D-8A37-F3DC56A02409}" dt="2024-11-29T20:40:02.789" v="1649" actId="20577"/>
          <ac:spMkLst>
            <pc:docMk/>
            <pc:sldMk cId="2613300315" sldId="277"/>
            <ac:spMk id="3" creationId="{ACA9DDB3-DD83-00C7-4C41-1F6AA546C5AA}"/>
          </ac:spMkLst>
        </pc:spChg>
        <pc:spChg chg="mod">
          <ac:chgData name="Corey Yuan-Zhen Cao" userId="894c8f18-9551-4354-8c83-83a52876c78b" providerId="ADAL" clId="{822035F6-0D12-423D-8A37-F3DC56A02409}" dt="2024-11-30T18:39:36.941" v="4312" actId="20577"/>
          <ac:spMkLst>
            <pc:docMk/>
            <pc:sldMk cId="2613300315" sldId="277"/>
            <ac:spMk id="5" creationId="{D9175CDC-8956-A774-0D02-B848FC1E552C}"/>
          </ac:spMkLst>
        </pc:spChg>
        <pc:spChg chg="del">
          <ac:chgData name="Corey Yuan-Zhen Cao" userId="894c8f18-9551-4354-8c83-83a52876c78b" providerId="ADAL" clId="{822035F6-0D12-423D-8A37-F3DC56A02409}" dt="2024-11-30T04:12:48.071" v="3134" actId="1957"/>
          <ac:spMkLst>
            <pc:docMk/>
            <pc:sldMk cId="2613300315" sldId="277"/>
            <ac:spMk id="6" creationId="{0F963328-B5A0-3420-609F-C2FB518306AC}"/>
          </ac:spMkLst>
        </pc:spChg>
        <pc:spChg chg="mod">
          <ac:chgData name="Corey Yuan-Zhen Cao" userId="894c8f18-9551-4354-8c83-83a52876c78b" providerId="ADAL" clId="{822035F6-0D12-423D-8A37-F3DC56A02409}" dt="2024-11-30T18:25:01.450" v="3731" actId="20577"/>
          <ac:spMkLst>
            <pc:docMk/>
            <pc:sldMk cId="2613300315" sldId="277"/>
            <ac:spMk id="7" creationId="{7CC7CA21-0808-638C-E8B2-D33A561104DB}"/>
          </ac:spMkLst>
        </pc:spChg>
        <pc:spChg chg="mod">
          <ac:chgData name="Corey Yuan-Zhen Cao" userId="894c8f18-9551-4354-8c83-83a52876c78b" providerId="ADAL" clId="{822035F6-0D12-423D-8A37-F3DC56A02409}" dt="2024-11-30T17:13:24.572" v="3457" actId="20577"/>
          <ac:spMkLst>
            <pc:docMk/>
            <pc:sldMk cId="2613300315" sldId="277"/>
            <ac:spMk id="8" creationId="{2FB77E19-2EB4-AE45-6F74-35B856607A07}"/>
          </ac:spMkLst>
        </pc:spChg>
        <pc:spChg chg="mod">
          <ac:chgData name="Corey Yuan-Zhen Cao" userId="894c8f18-9551-4354-8c83-83a52876c78b" providerId="ADAL" clId="{822035F6-0D12-423D-8A37-F3DC56A02409}" dt="2024-12-01T02:31:12.402" v="8895" actId="20577"/>
          <ac:spMkLst>
            <pc:docMk/>
            <pc:sldMk cId="2613300315" sldId="277"/>
            <ac:spMk id="9" creationId="{B7251C02-C105-B5EA-65BC-50C89E0ACA0F}"/>
          </ac:spMkLst>
        </pc:spChg>
        <pc:spChg chg="del mod">
          <ac:chgData name="Corey Yuan-Zhen Cao" userId="894c8f18-9551-4354-8c83-83a52876c78b" providerId="ADAL" clId="{822035F6-0D12-423D-8A37-F3DC56A02409}" dt="2024-11-30T17:09:23.009" v="3244"/>
          <ac:spMkLst>
            <pc:docMk/>
            <pc:sldMk cId="2613300315" sldId="277"/>
            <ac:spMk id="10" creationId="{384620A0-1EBF-6726-CBB4-2869EB1A7677}"/>
          </ac:spMkLst>
        </pc:spChg>
        <pc:spChg chg="mod">
          <ac:chgData name="Corey Yuan-Zhen Cao" userId="894c8f18-9551-4354-8c83-83a52876c78b" providerId="ADAL" clId="{822035F6-0D12-423D-8A37-F3DC56A02409}" dt="2024-12-01T02:39:12.463" v="9312" actId="20577"/>
          <ac:spMkLst>
            <pc:docMk/>
            <pc:sldMk cId="2613300315" sldId="277"/>
            <ac:spMk id="11" creationId="{2A1DD375-2629-FEEA-4BE1-D64BE5E1329C}"/>
          </ac:spMkLst>
        </pc:spChg>
        <pc:spChg chg="mod">
          <ac:chgData name="Corey Yuan-Zhen Cao" userId="894c8f18-9551-4354-8c83-83a52876c78b" providerId="ADAL" clId="{822035F6-0D12-423D-8A37-F3DC56A02409}" dt="2024-11-30T23:28:02.451" v="8060" actId="20577"/>
          <ac:spMkLst>
            <pc:docMk/>
            <pc:sldMk cId="2613300315" sldId="277"/>
            <ac:spMk id="12" creationId="{511BE8D9-CF2B-2CFD-8FC6-98E5CD5B2AD5}"/>
          </ac:spMkLst>
        </pc:spChg>
        <pc:spChg chg="add mod">
          <ac:chgData name="Corey Yuan-Zhen Cao" userId="894c8f18-9551-4354-8c83-83a52876c78b" providerId="ADAL" clId="{822035F6-0D12-423D-8A37-F3DC56A02409}" dt="2024-11-30T20:03:47.990" v="5106" actId="20577"/>
          <ac:spMkLst>
            <pc:docMk/>
            <pc:sldMk cId="2613300315" sldId="277"/>
            <ac:spMk id="18" creationId="{AEC705EC-5FE4-04D5-B2CB-1233E975B298}"/>
          </ac:spMkLst>
        </pc:spChg>
        <pc:graphicFrameChg chg="add del mod">
          <ac:chgData name="Corey Yuan-Zhen Cao" userId="894c8f18-9551-4354-8c83-83a52876c78b" providerId="ADAL" clId="{822035F6-0D12-423D-8A37-F3DC56A02409}" dt="2024-11-30T17:09:33.334" v="3245" actId="478"/>
          <ac:graphicFrameMkLst>
            <pc:docMk/>
            <pc:sldMk cId="2613300315" sldId="277"/>
            <ac:graphicFrameMk id="15" creationId="{A29B68BE-169A-AB88-9442-08DF651198CC}"/>
          </ac:graphicFrameMkLst>
        </pc:graphicFrameChg>
        <pc:graphicFrameChg chg="add mod">
          <ac:chgData name="Corey Yuan-Zhen Cao" userId="894c8f18-9551-4354-8c83-83a52876c78b" providerId="ADAL" clId="{822035F6-0D12-423D-8A37-F3DC56A02409}" dt="2024-11-30T18:26:37.631" v="3872" actId="255"/>
          <ac:graphicFrameMkLst>
            <pc:docMk/>
            <pc:sldMk cId="2613300315" sldId="277"/>
            <ac:graphicFrameMk id="16" creationId="{AFA96ADB-BD29-78CF-F180-1FD93F035922}"/>
          </ac:graphicFrameMkLst>
        </pc:graphicFrameChg>
      </pc:sldChg>
    </pc:docChg>
  </pc:docChgLst>
  <pc:docChgLst>
    <pc:chgData name="Liam Morden" userId="S::lmord071@uottawa.ca::93761272-e958-47bd-a047-5952229592b0" providerId="AD" clId="Web-{0F2E4984-A130-4AEC-6CF4-2EE7D87B4FBD}"/>
    <pc:docChg chg="modSld">
      <pc:chgData name="Liam Morden" userId="S::lmord071@uottawa.ca::93761272-e958-47bd-a047-5952229592b0" providerId="AD" clId="Web-{0F2E4984-A130-4AEC-6CF4-2EE7D87B4FBD}" dt="2024-10-22T18:40:59.913" v="39" actId="20577"/>
      <pc:docMkLst>
        <pc:docMk/>
      </pc:docMkLst>
      <pc:sldChg chg="modSp">
        <pc:chgData name="Liam Morden" userId="S::lmord071@uottawa.ca::93761272-e958-47bd-a047-5952229592b0" providerId="AD" clId="Web-{0F2E4984-A130-4AEC-6CF4-2EE7D87B4FBD}" dt="2024-10-22T18:40:59.913" v="39" actId="20577"/>
        <pc:sldMkLst>
          <pc:docMk/>
          <pc:sldMk cId="602315547" sldId="270"/>
        </pc:sldMkLst>
        <pc:spChg chg="mod">
          <ac:chgData name="Liam Morden" userId="S::lmord071@uottawa.ca::93761272-e958-47bd-a047-5952229592b0" providerId="AD" clId="Web-{0F2E4984-A130-4AEC-6CF4-2EE7D87B4FBD}" dt="2024-10-22T18:40:59.913" v="39" actId="20577"/>
          <ac:spMkLst>
            <pc:docMk/>
            <pc:sldMk cId="602315547" sldId="270"/>
            <ac:spMk id="7" creationId="{AA2D9D26-7EC2-4C32-5A38-5626CCD5F662}"/>
          </ac:spMkLst>
        </pc:spChg>
        <pc:spChg chg="mod">
          <ac:chgData name="Liam Morden" userId="S::lmord071@uottawa.ca::93761272-e958-47bd-a047-5952229592b0" providerId="AD" clId="Web-{0F2E4984-A130-4AEC-6CF4-2EE7D87B4FBD}" dt="2024-10-22T18:40:48.022" v="0" actId="20577"/>
          <ac:spMkLst>
            <pc:docMk/>
            <pc:sldMk cId="602315547" sldId="270"/>
            <ac:spMk id="14" creationId="{520EF869-0942-67BC-D096-B50E2B930F47}"/>
          </ac:spMkLst>
        </pc:spChg>
        <pc:spChg chg="mod">
          <ac:chgData name="Liam Morden" userId="S::lmord071@uottawa.ca::93761272-e958-47bd-a047-5952229592b0" providerId="AD" clId="Web-{0F2E4984-A130-4AEC-6CF4-2EE7D87B4FBD}" dt="2024-10-22T18:40:52.163" v="11" actId="20577"/>
          <ac:spMkLst>
            <pc:docMk/>
            <pc:sldMk cId="602315547" sldId="270"/>
            <ac:spMk id="19" creationId="{44252831-5319-CFC3-0E7E-7E846F41168A}"/>
          </ac:spMkLst>
        </pc:spChg>
        <pc:spChg chg="mod">
          <ac:chgData name="Liam Morden" userId="S::lmord071@uottawa.ca::93761272-e958-47bd-a047-5952229592b0" providerId="AD" clId="Web-{0F2E4984-A130-4AEC-6CF4-2EE7D87B4FBD}" dt="2024-10-22T18:40:53.756" v="16" actId="20577"/>
          <ac:spMkLst>
            <pc:docMk/>
            <pc:sldMk cId="602315547" sldId="270"/>
            <ac:spMk id="25" creationId="{706A80FD-A34A-6AC8-1D3E-0BE02FCF3367}"/>
          </ac:spMkLst>
        </pc:spChg>
        <pc:spChg chg="mod">
          <ac:chgData name="Liam Morden" userId="S::lmord071@uottawa.ca::93761272-e958-47bd-a047-5952229592b0" providerId="AD" clId="Web-{0F2E4984-A130-4AEC-6CF4-2EE7D87B4FBD}" dt="2024-10-22T18:40:57.460" v="29" actId="20577"/>
          <ac:spMkLst>
            <pc:docMk/>
            <pc:sldMk cId="602315547" sldId="270"/>
            <ac:spMk id="29" creationId="{FECB13C6-A29E-4031-6B34-842E1995AF66}"/>
          </ac:spMkLst>
        </pc:spChg>
        <pc:spChg chg="mod">
          <ac:chgData name="Liam Morden" userId="S::lmord071@uottawa.ca::93761272-e958-47bd-a047-5952229592b0" providerId="AD" clId="Web-{0F2E4984-A130-4AEC-6CF4-2EE7D87B4FBD}" dt="2024-10-22T18:40:49.631" v="4" actId="20577"/>
          <ac:spMkLst>
            <pc:docMk/>
            <pc:sldMk cId="602315547" sldId="270"/>
            <ac:spMk id="37" creationId="{F3C67577-418B-A7DD-30D9-C9E5377D8D9D}"/>
          </ac:spMkLst>
        </pc:spChg>
      </pc:sldChg>
    </pc:docChg>
  </pc:docChgLst>
  <pc:docChgLst>
    <pc:chgData name="Liam Morden" userId="S::lmord071@uottawa.ca::93761272-e958-47bd-a047-5952229592b0" providerId="AD" clId="Web-{834210BD-4FE6-311F-CDFD-AEF3719F541E}"/>
    <pc:docChg chg="addSld delSld modSld addMainMaster modMainMaster">
      <pc:chgData name="Liam Morden" userId="S::lmord071@uottawa.ca::93761272-e958-47bd-a047-5952229592b0" providerId="AD" clId="Web-{834210BD-4FE6-311F-CDFD-AEF3719F541E}" dt="2024-11-05T16:50:51.377" v="49"/>
      <pc:docMkLst>
        <pc:docMk/>
      </pc:docMkLst>
      <pc:sldChg chg="modSp add">
        <pc:chgData name="Liam Morden" userId="S::lmord071@uottawa.ca::93761272-e958-47bd-a047-5952229592b0" providerId="AD" clId="Web-{834210BD-4FE6-311F-CDFD-AEF3719F541E}" dt="2024-11-05T16:50:10.658" v="47"/>
        <pc:sldMkLst>
          <pc:docMk/>
          <pc:sldMk cId="395644326" sldId="272"/>
        </pc:sldMkLst>
        <pc:spChg chg="mod">
          <ac:chgData name="Liam Morden" userId="S::lmord071@uottawa.ca::93761272-e958-47bd-a047-5952229592b0" providerId="AD" clId="Web-{834210BD-4FE6-311F-CDFD-AEF3719F541E}" dt="2024-11-05T16:50:05.173" v="37" actId="20577"/>
          <ac:spMkLst>
            <pc:docMk/>
            <pc:sldMk cId="395644326" sldId="272"/>
            <ac:spMk id="2" creationId="{D509BB0B-4477-2B23-85B4-4BC6073C2CDF}"/>
          </ac:spMkLst>
        </pc:spChg>
        <pc:spChg chg="mod">
          <ac:chgData name="Liam Morden" userId="S::lmord071@uottawa.ca::93761272-e958-47bd-a047-5952229592b0" providerId="AD" clId="Web-{834210BD-4FE6-311F-CDFD-AEF3719F541E}" dt="2024-11-05T16:50:00.408" v="30" actId="20577"/>
          <ac:spMkLst>
            <pc:docMk/>
            <pc:sldMk cId="395644326" sldId="272"/>
            <ac:spMk id="7" creationId="{588E85CF-3DF0-F67D-7685-EE384A084801}"/>
          </ac:spMkLst>
        </pc:spChg>
        <pc:graphicFrameChg chg="mod modGraphic">
          <ac:chgData name="Liam Morden" userId="S::lmord071@uottawa.ca::93761272-e958-47bd-a047-5952229592b0" providerId="AD" clId="Web-{834210BD-4FE6-311F-CDFD-AEF3719F541E}" dt="2024-11-05T16:50:10.658" v="47"/>
          <ac:graphicFrameMkLst>
            <pc:docMk/>
            <pc:sldMk cId="395644326" sldId="272"/>
            <ac:graphicFrameMk id="43" creationId="{9C8BE00B-4A37-A415-40F3-D297AFE329DB}"/>
          </ac:graphicFrameMkLst>
        </pc:graphicFrameChg>
      </pc:sldChg>
      <pc:sldChg chg="modSp add">
        <pc:chgData name="Liam Morden" userId="S::lmord071@uottawa.ca::93761272-e958-47bd-a047-5952229592b0" providerId="AD" clId="Web-{834210BD-4FE6-311F-CDFD-AEF3719F541E}" dt="2024-11-05T16:49:36.642" v="14" actId="20577"/>
        <pc:sldMkLst>
          <pc:docMk/>
          <pc:sldMk cId="2137920764" sldId="273"/>
        </pc:sldMkLst>
        <pc:spChg chg="mod">
          <ac:chgData name="Liam Morden" userId="S::lmord071@uottawa.ca::93761272-e958-47bd-a047-5952229592b0" providerId="AD" clId="Web-{834210BD-4FE6-311F-CDFD-AEF3719F541E}" dt="2024-11-05T16:49:16.126" v="2" actId="20577"/>
          <ac:spMkLst>
            <pc:docMk/>
            <pc:sldMk cId="2137920764" sldId="273"/>
            <ac:spMk id="2" creationId="{CCE349BD-575F-285F-7B45-325F18718BC8}"/>
          </ac:spMkLst>
        </pc:spChg>
        <pc:spChg chg="mod">
          <ac:chgData name="Liam Morden" userId="S::lmord071@uottawa.ca::93761272-e958-47bd-a047-5952229592b0" providerId="AD" clId="Web-{834210BD-4FE6-311F-CDFD-AEF3719F541E}" dt="2024-11-05T16:49:36.642" v="14" actId="20577"/>
          <ac:spMkLst>
            <pc:docMk/>
            <pc:sldMk cId="2137920764" sldId="273"/>
            <ac:spMk id="5" creationId="{654026D9-A04A-A461-5EBA-DE7373312F96}"/>
          </ac:spMkLst>
        </pc:spChg>
        <pc:spChg chg="mod">
          <ac:chgData name="Liam Morden" userId="S::lmord071@uottawa.ca::93761272-e958-47bd-a047-5952229592b0" providerId="AD" clId="Web-{834210BD-4FE6-311F-CDFD-AEF3719F541E}" dt="2024-11-05T16:49:18.282" v="4" actId="20577"/>
          <ac:spMkLst>
            <pc:docMk/>
            <pc:sldMk cId="2137920764" sldId="273"/>
            <ac:spMk id="7" creationId="{FA0ADB8F-66F2-4967-9C3A-40DDB35049F8}"/>
          </ac:spMkLst>
        </pc:spChg>
        <pc:spChg chg="mod">
          <ac:chgData name="Liam Morden" userId="S::lmord071@uottawa.ca::93761272-e958-47bd-a047-5952229592b0" providerId="AD" clId="Web-{834210BD-4FE6-311F-CDFD-AEF3719F541E}" dt="2024-11-05T16:49:23.110" v="5" actId="20577"/>
          <ac:spMkLst>
            <pc:docMk/>
            <pc:sldMk cId="2137920764" sldId="273"/>
            <ac:spMk id="8" creationId="{25C33CC8-74F4-4415-B0A3-3F638B241654}"/>
          </ac:spMkLst>
        </pc:spChg>
        <pc:spChg chg="mod">
          <ac:chgData name="Liam Morden" userId="S::lmord071@uottawa.ca::93761272-e958-47bd-a047-5952229592b0" providerId="AD" clId="Web-{834210BD-4FE6-311F-CDFD-AEF3719F541E}" dt="2024-11-05T16:49:24.673" v="6" actId="20577"/>
          <ac:spMkLst>
            <pc:docMk/>
            <pc:sldMk cId="2137920764" sldId="273"/>
            <ac:spMk id="9" creationId="{F4940870-9172-4937-8A78-9F5AA7119D32}"/>
          </ac:spMkLst>
        </pc:spChg>
        <pc:spChg chg="mod">
          <ac:chgData name="Liam Morden" userId="S::lmord071@uottawa.ca::93761272-e958-47bd-a047-5952229592b0" providerId="AD" clId="Web-{834210BD-4FE6-311F-CDFD-AEF3719F541E}" dt="2024-11-05T16:49:32.189" v="11" actId="20577"/>
          <ac:spMkLst>
            <pc:docMk/>
            <pc:sldMk cId="2137920764" sldId="273"/>
            <ac:spMk id="10" creationId="{5DE3D6FE-D38B-490C-AEBC-41D20B998742}"/>
          </ac:spMkLst>
        </pc:spChg>
        <pc:spChg chg="mod">
          <ac:chgData name="Liam Morden" userId="S::lmord071@uottawa.ca::93761272-e958-47bd-a047-5952229592b0" providerId="AD" clId="Web-{834210BD-4FE6-311F-CDFD-AEF3719F541E}" dt="2024-11-05T16:49:27.188" v="7" actId="20577"/>
          <ac:spMkLst>
            <pc:docMk/>
            <pc:sldMk cId="2137920764" sldId="273"/>
            <ac:spMk id="11" creationId="{77EFCDF7-B917-4D6D-BF10-54B88EBE519E}"/>
          </ac:spMkLst>
        </pc:spChg>
        <pc:spChg chg="mod">
          <ac:chgData name="Liam Morden" userId="S::lmord071@uottawa.ca::93761272-e958-47bd-a047-5952229592b0" providerId="AD" clId="Web-{834210BD-4FE6-311F-CDFD-AEF3719F541E}" dt="2024-11-05T16:49:29.423" v="9" actId="20577"/>
          <ac:spMkLst>
            <pc:docMk/>
            <pc:sldMk cId="2137920764" sldId="273"/>
            <ac:spMk id="12" creationId="{EF88B294-1C02-411D-9A2E-81C4A27B0B82}"/>
          </ac:spMkLst>
        </pc:spChg>
      </pc:sldChg>
      <pc:sldChg chg="add del">
        <pc:chgData name="Liam Morden" userId="S::lmord071@uottawa.ca::93761272-e958-47bd-a047-5952229592b0" providerId="AD" clId="Web-{834210BD-4FE6-311F-CDFD-AEF3719F541E}" dt="2024-11-05T16:50:51.377" v="49"/>
        <pc:sldMkLst>
          <pc:docMk/>
          <pc:sldMk cId="117626101" sldId="274"/>
        </pc:sldMkLst>
      </pc:sldChg>
      <pc:sldMasterChg chg="add addSldLayout">
        <pc:chgData name="Liam Morden" userId="S::lmord071@uottawa.ca::93761272-e958-47bd-a047-5952229592b0" providerId="AD" clId="Web-{834210BD-4FE6-311F-CDFD-AEF3719F541E}" dt="2024-11-05T16:49:10.219" v="1"/>
        <pc:sldMasterMkLst>
          <pc:docMk/>
          <pc:sldMasterMk cId="108896749" sldId="2147483700"/>
        </pc:sldMasterMkLst>
        <pc:sldLayoutChg chg="add">
          <pc:chgData name="Liam Morden" userId="S::lmord071@uottawa.ca::93761272-e958-47bd-a047-5952229592b0" providerId="AD" clId="Web-{834210BD-4FE6-311F-CDFD-AEF3719F541E}" dt="2024-11-05T16:49:10.219" v="1"/>
          <pc:sldLayoutMkLst>
            <pc:docMk/>
            <pc:sldMasterMk cId="108896749" sldId="2147483700"/>
            <pc:sldLayoutMk cId="3428732608" sldId="2147483702"/>
          </pc:sldLayoutMkLst>
        </pc:sldLayoutChg>
        <pc:sldLayoutChg chg="add">
          <pc:chgData name="Liam Morden" userId="S::lmord071@uottawa.ca::93761272-e958-47bd-a047-5952229592b0" providerId="AD" clId="Web-{834210BD-4FE6-311F-CDFD-AEF3719F541E}" dt="2024-11-05T16:49:06.282" v="0"/>
          <pc:sldLayoutMkLst>
            <pc:docMk/>
            <pc:sldMasterMk cId="108896749" sldId="2147483700"/>
            <pc:sldLayoutMk cId="3885629154" sldId="2147483707"/>
          </pc:sldLayoutMkLst>
        </pc:sldLayoutChg>
      </pc:sldMasterChg>
      <pc:sldMasterChg chg="replId">
        <pc:chgData name="Liam Morden" userId="S::lmord071@uottawa.ca::93761272-e958-47bd-a047-5952229592b0" providerId="AD" clId="Web-{834210BD-4FE6-311F-CDFD-AEF3719F541E}" dt="2024-11-05T16:49:06.282" v="0"/>
        <pc:sldMasterMkLst>
          <pc:docMk/>
          <pc:sldMasterMk cId="108896749" sldId="2147483701"/>
        </pc:sldMasterMkLst>
      </pc:sldMasterChg>
    </pc:docChg>
  </pc:docChgLst>
  <pc:docChgLst>
    <pc:chgData name="Sofia Paravan" userId="S::spara093@uottawa.ca::416f5510-1340-4ca8-9659-43f0fa8f07c1" providerId="AD" clId="Web-{BADEDAD8-515E-3540-06E5-6848947844BE}"/>
    <pc:docChg chg="modSld">
      <pc:chgData name="Sofia Paravan" userId="S::spara093@uottawa.ca::416f5510-1340-4ca8-9659-43f0fa8f07c1" providerId="AD" clId="Web-{BADEDAD8-515E-3540-06E5-6848947844BE}" dt="2024-12-02T23:11:42.070" v="3" actId="20577"/>
      <pc:docMkLst>
        <pc:docMk/>
      </pc:docMkLst>
      <pc:sldChg chg="modSp modCm">
        <pc:chgData name="Sofia Paravan" userId="S::spara093@uottawa.ca::416f5510-1340-4ca8-9659-43f0fa8f07c1" providerId="AD" clId="Web-{BADEDAD8-515E-3540-06E5-6848947844BE}" dt="2024-12-02T23:11:42.070" v="3" actId="20577"/>
        <pc:sldMkLst>
          <pc:docMk/>
          <pc:sldMk cId="1638840574" sldId="432"/>
        </pc:sldMkLst>
        <pc:spChg chg="mod">
          <ac:chgData name="Sofia Paravan" userId="S::spara093@uottawa.ca::416f5510-1340-4ca8-9659-43f0fa8f07c1" providerId="AD" clId="Web-{BADEDAD8-515E-3540-06E5-6848947844BE}" dt="2024-12-02T23:11:42.070" v="3" actId="20577"/>
          <ac:spMkLst>
            <pc:docMk/>
            <pc:sldMk cId="1638840574" sldId="432"/>
            <ac:spMk id="6" creationId="{043CFCED-5654-B475-46DC-2E637BA4F3EA}"/>
          </ac:spMkLst>
        </pc:spChg>
        <pc:extLst>
          <p:ext xmlns:p="http://schemas.openxmlformats.org/presentationml/2006/main" uri="{D6D511B9-2390-475A-947B-AFAB55BFBCF1}">
            <pc226:cmChg xmlns:pc226="http://schemas.microsoft.com/office/powerpoint/2022/06/main/command" chg="mod">
              <pc226:chgData name="Sofia Paravan" userId="S::spara093@uottawa.ca::416f5510-1340-4ca8-9659-43f0fa8f07c1" providerId="AD" clId="Web-{BADEDAD8-515E-3540-06E5-6848947844BE}" dt="2024-12-02T23:11:41.133" v="2" actId="20577"/>
              <pc2:cmMkLst xmlns:pc2="http://schemas.microsoft.com/office/powerpoint/2019/9/main/command">
                <pc:docMk/>
                <pc:sldMk cId="1638840574" sldId="432"/>
                <pc2:cmMk id="{D9590073-A76F-4687-A691-7D72AE9722E1}"/>
              </pc2:cmMkLst>
            </pc226:cmChg>
          </p:ext>
        </pc:extLst>
      </pc:sldChg>
    </pc:docChg>
  </pc:docChgLst>
  <pc:docChgLst>
    <pc:chgData name="Oliver William Tudor Price" userId="S::otudo020@uottawa.ca::bc759f3a-6044-48a3-9f29-ba18c5525582" providerId="AD" clId="Web-{E58BCB80-69B4-F30E-29B7-B25BD71F7072}"/>
    <pc:docChg chg="modSld">
      <pc:chgData name="Oliver William Tudor Price" userId="S::otudo020@uottawa.ca::bc759f3a-6044-48a3-9f29-ba18c5525582" providerId="AD" clId="Web-{E58BCB80-69B4-F30E-29B7-B25BD71F7072}" dt="2024-12-02T23:30:25.922" v="5" actId="20577"/>
      <pc:docMkLst>
        <pc:docMk/>
      </pc:docMkLst>
      <pc:sldChg chg="modSp">
        <pc:chgData name="Oliver William Tudor Price" userId="S::otudo020@uottawa.ca::bc759f3a-6044-48a3-9f29-ba18c5525582" providerId="AD" clId="Web-{E58BCB80-69B4-F30E-29B7-B25BD71F7072}" dt="2024-12-02T23:30:25.922" v="5" actId="20577"/>
        <pc:sldMkLst>
          <pc:docMk/>
          <pc:sldMk cId="27501735" sldId="429"/>
        </pc:sldMkLst>
        <pc:spChg chg="mod">
          <ac:chgData name="Oliver William Tudor Price" userId="S::otudo020@uottawa.ca::bc759f3a-6044-48a3-9f29-ba18c5525582" providerId="AD" clId="Web-{E58BCB80-69B4-F30E-29B7-B25BD71F7072}" dt="2024-12-02T23:30:25.922" v="5" actId="20577"/>
          <ac:spMkLst>
            <pc:docMk/>
            <pc:sldMk cId="27501735" sldId="429"/>
            <ac:spMk id="8" creationId="{081D7B18-BAA4-154D-E69E-0AE071D7E701}"/>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19B_848837AC.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_115_9BC3CC5B.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_116_D51F26B7.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_116_D51F26B74.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_1B3_8FE8D08F.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_1B3_8FE8D08F5.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_11E_42B1A721.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1B0_61AEB8FE.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1AB_FE6E8340.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1AD_1A3A4A7.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1AE_6F744570.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_1AE_6F7445702.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_1B2_36C863C3.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_1B2_36C863C33.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_1B1_6D9D658B.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_1B0_61AEB8FE1.xlsx"/></Relationships>
</file>

<file path=ppt/charts/_rels/chartEx2.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_11E_42B1A721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ASDAQ: ADUS</c:v>
                </c:pt>
              </c:strCache>
            </c:strRef>
          </c:tx>
          <c:spPr>
            <a:ln w="28575" cap="rnd">
              <a:solidFill>
                <a:schemeClr val="accent1"/>
              </a:solidFill>
              <a:round/>
            </a:ln>
            <a:effectLst/>
          </c:spPr>
          <c:marker>
            <c:symbol val="none"/>
          </c:marker>
          <c:cat>
            <c:numRef>
              <c:f>Sheet1!$A$2:$A$254</c:f>
              <c:numCache>
                <c:formatCode>[$-409]mmm\-dd\-yyyy;@</c:formatCode>
                <c:ptCount val="253"/>
                <c:pt idx="0">
                  <c:v>45257</c:v>
                </c:pt>
                <c:pt idx="1">
                  <c:v>45258</c:v>
                </c:pt>
                <c:pt idx="2">
                  <c:v>45259</c:v>
                </c:pt>
                <c:pt idx="3">
                  <c:v>45260</c:v>
                </c:pt>
                <c:pt idx="4">
                  <c:v>45261</c:v>
                </c:pt>
                <c:pt idx="5">
                  <c:v>45264</c:v>
                </c:pt>
                <c:pt idx="6">
                  <c:v>45265</c:v>
                </c:pt>
                <c:pt idx="7">
                  <c:v>45266</c:v>
                </c:pt>
                <c:pt idx="8">
                  <c:v>45267</c:v>
                </c:pt>
                <c:pt idx="9">
                  <c:v>45268</c:v>
                </c:pt>
                <c:pt idx="10">
                  <c:v>45271</c:v>
                </c:pt>
                <c:pt idx="11">
                  <c:v>45272</c:v>
                </c:pt>
                <c:pt idx="12">
                  <c:v>45273</c:v>
                </c:pt>
                <c:pt idx="13">
                  <c:v>45274</c:v>
                </c:pt>
                <c:pt idx="14">
                  <c:v>45275</c:v>
                </c:pt>
                <c:pt idx="15">
                  <c:v>45278</c:v>
                </c:pt>
                <c:pt idx="16">
                  <c:v>45279</c:v>
                </c:pt>
                <c:pt idx="17">
                  <c:v>45280</c:v>
                </c:pt>
                <c:pt idx="18">
                  <c:v>45281</c:v>
                </c:pt>
                <c:pt idx="19">
                  <c:v>45282</c:v>
                </c:pt>
                <c:pt idx="20">
                  <c:v>45286</c:v>
                </c:pt>
                <c:pt idx="21">
                  <c:v>45287</c:v>
                </c:pt>
                <c:pt idx="22">
                  <c:v>45288</c:v>
                </c:pt>
                <c:pt idx="23">
                  <c:v>45289</c:v>
                </c:pt>
                <c:pt idx="24">
                  <c:v>45293</c:v>
                </c:pt>
                <c:pt idx="25">
                  <c:v>45294</c:v>
                </c:pt>
                <c:pt idx="26">
                  <c:v>45295</c:v>
                </c:pt>
                <c:pt idx="27">
                  <c:v>45296</c:v>
                </c:pt>
                <c:pt idx="28">
                  <c:v>45299</c:v>
                </c:pt>
                <c:pt idx="29">
                  <c:v>45300</c:v>
                </c:pt>
                <c:pt idx="30">
                  <c:v>45301</c:v>
                </c:pt>
                <c:pt idx="31">
                  <c:v>45302</c:v>
                </c:pt>
                <c:pt idx="32">
                  <c:v>45303</c:v>
                </c:pt>
                <c:pt idx="33">
                  <c:v>45307</c:v>
                </c:pt>
                <c:pt idx="34">
                  <c:v>45308</c:v>
                </c:pt>
                <c:pt idx="35">
                  <c:v>45309</c:v>
                </c:pt>
                <c:pt idx="36">
                  <c:v>45310</c:v>
                </c:pt>
                <c:pt idx="37">
                  <c:v>45313</c:v>
                </c:pt>
                <c:pt idx="38">
                  <c:v>45314</c:v>
                </c:pt>
                <c:pt idx="39">
                  <c:v>45315</c:v>
                </c:pt>
                <c:pt idx="40">
                  <c:v>45316</c:v>
                </c:pt>
                <c:pt idx="41">
                  <c:v>45317</c:v>
                </c:pt>
                <c:pt idx="42">
                  <c:v>45320</c:v>
                </c:pt>
                <c:pt idx="43">
                  <c:v>45321</c:v>
                </c:pt>
                <c:pt idx="44">
                  <c:v>45322</c:v>
                </c:pt>
                <c:pt idx="45">
                  <c:v>45323</c:v>
                </c:pt>
                <c:pt idx="46">
                  <c:v>45324</c:v>
                </c:pt>
                <c:pt idx="47">
                  <c:v>45327</c:v>
                </c:pt>
                <c:pt idx="48">
                  <c:v>45328</c:v>
                </c:pt>
                <c:pt idx="49">
                  <c:v>45329</c:v>
                </c:pt>
                <c:pt idx="50">
                  <c:v>45330</c:v>
                </c:pt>
                <c:pt idx="51">
                  <c:v>45331</c:v>
                </c:pt>
                <c:pt idx="52">
                  <c:v>45334</c:v>
                </c:pt>
                <c:pt idx="53">
                  <c:v>45335</c:v>
                </c:pt>
                <c:pt idx="54">
                  <c:v>45336</c:v>
                </c:pt>
                <c:pt idx="55">
                  <c:v>45337</c:v>
                </c:pt>
                <c:pt idx="56">
                  <c:v>45338</c:v>
                </c:pt>
                <c:pt idx="57">
                  <c:v>45342</c:v>
                </c:pt>
                <c:pt idx="58">
                  <c:v>45343</c:v>
                </c:pt>
                <c:pt idx="59">
                  <c:v>45344</c:v>
                </c:pt>
                <c:pt idx="60">
                  <c:v>45345</c:v>
                </c:pt>
                <c:pt idx="61">
                  <c:v>45348</c:v>
                </c:pt>
                <c:pt idx="62">
                  <c:v>45349</c:v>
                </c:pt>
                <c:pt idx="63">
                  <c:v>45350</c:v>
                </c:pt>
                <c:pt idx="64">
                  <c:v>45351</c:v>
                </c:pt>
                <c:pt idx="65">
                  <c:v>45352</c:v>
                </c:pt>
                <c:pt idx="66">
                  <c:v>45355</c:v>
                </c:pt>
                <c:pt idx="67">
                  <c:v>45356</c:v>
                </c:pt>
                <c:pt idx="68">
                  <c:v>45357</c:v>
                </c:pt>
                <c:pt idx="69">
                  <c:v>45358</c:v>
                </c:pt>
                <c:pt idx="70">
                  <c:v>45359</c:v>
                </c:pt>
                <c:pt idx="71">
                  <c:v>45362</c:v>
                </c:pt>
                <c:pt idx="72">
                  <c:v>45363</c:v>
                </c:pt>
                <c:pt idx="73">
                  <c:v>45364</c:v>
                </c:pt>
                <c:pt idx="74">
                  <c:v>45365</c:v>
                </c:pt>
                <c:pt idx="75">
                  <c:v>45366</c:v>
                </c:pt>
                <c:pt idx="76">
                  <c:v>45369</c:v>
                </c:pt>
                <c:pt idx="77">
                  <c:v>45370</c:v>
                </c:pt>
                <c:pt idx="78">
                  <c:v>45371</c:v>
                </c:pt>
                <c:pt idx="79">
                  <c:v>45372</c:v>
                </c:pt>
                <c:pt idx="80">
                  <c:v>45373</c:v>
                </c:pt>
                <c:pt idx="81">
                  <c:v>45376</c:v>
                </c:pt>
                <c:pt idx="82">
                  <c:v>45377</c:v>
                </c:pt>
                <c:pt idx="83">
                  <c:v>45378</c:v>
                </c:pt>
                <c:pt idx="84">
                  <c:v>45379</c:v>
                </c:pt>
                <c:pt idx="85">
                  <c:v>45383</c:v>
                </c:pt>
                <c:pt idx="86">
                  <c:v>45384</c:v>
                </c:pt>
                <c:pt idx="87">
                  <c:v>45385</c:v>
                </c:pt>
                <c:pt idx="88">
                  <c:v>45386</c:v>
                </c:pt>
                <c:pt idx="89">
                  <c:v>45387</c:v>
                </c:pt>
                <c:pt idx="90">
                  <c:v>45390</c:v>
                </c:pt>
                <c:pt idx="91">
                  <c:v>45391</c:v>
                </c:pt>
                <c:pt idx="92">
                  <c:v>45392</c:v>
                </c:pt>
                <c:pt idx="93">
                  <c:v>45393</c:v>
                </c:pt>
                <c:pt idx="94">
                  <c:v>45394</c:v>
                </c:pt>
                <c:pt idx="95">
                  <c:v>45397</c:v>
                </c:pt>
                <c:pt idx="96">
                  <c:v>45398</c:v>
                </c:pt>
                <c:pt idx="97">
                  <c:v>45399</c:v>
                </c:pt>
                <c:pt idx="98">
                  <c:v>45400</c:v>
                </c:pt>
                <c:pt idx="99">
                  <c:v>45401</c:v>
                </c:pt>
                <c:pt idx="100">
                  <c:v>45404</c:v>
                </c:pt>
                <c:pt idx="101">
                  <c:v>45405</c:v>
                </c:pt>
                <c:pt idx="102">
                  <c:v>45406</c:v>
                </c:pt>
                <c:pt idx="103">
                  <c:v>45407</c:v>
                </c:pt>
                <c:pt idx="104">
                  <c:v>45408</c:v>
                </c:pt>
                <c:pt idx="105">
                  <c:v>45411</c:v>
                </c:pt>
                <c:pt idx="106">
                  <c:v>45412</c:v>
                </c:pt>
                <c:pt idx="107">
                  <c:v>45413</c:v>
                </c:pt>
                <c:pt idx="108">
                  <c:v>45414</c:v>
                </c:pt>
                <c:pt idx="109">
                  <c:v>45415</c:v>
                </c:pt>
                <c:pt idx="110">
                  <c:v>45418</c:v>
                </c:pt>
                <c:pt idx="111">
                  <c:v>45419</c:v>
                </c:pt>
                <c:pt idx="112">
                  <c:v>45420</c:v>
                </c:pt>
                <c:pt idx="113">
                  <c:v>45421</c:v>
                </c:pt>
                <c:pt idx="114">
                  <c:v>45422</c:v>
                </c:pt>
                <c:pt idx="115">
                  <c:v>45425</c:v>
                </c:pt>
                <c:pt idx="116">
                  <c:v>45426</c:v>
                </c:pt>
                <c:pt idx="117">
                  <c:v>45427</c:v>
                </c:pt>
                <c:pt idx="118">
                  <c:v>45428</c:v>
                </c:pt>
                <c:pt idx="119">
                  <c:v>45429</c:v>
                </c:pt>
                <c:pt idx="120">
                  <c:v>45432</c:v>
                </c:pt>
                <c:pt idx="121">
                  <c:v>45433</c:v>
                </c:pt>
                <c:pt idx="122">
                  <c:v>45434</c:v>
                </c:pt>
                <c:pt idx="123">
                  <c:v>45435</c:v>
                </c:pt>
                <c:pt idx="124">
                  <c:v>45436</c:v>
                </c:pt>
                <c:pt idx="125">
                  <c:v>45440</c:v>
                </c:pt>
                <c:pt idx="126">
                  <c:v>45441</c:v>
                </c:pt>
                <c:pt idx="127">
                  <c:v>45442</c:v>
                </c:pt>
                <c:pt idx="128">
                  <c:v>45443</c:v>
                </c:pt>
                <c:pt idx="129">
                  <c:v>45446</c:v>
                </c:pt>
                <c:pt idx="130">
                  <c:v>45447</c:v>
                </c:pt>
                <c:pt idx="131">
                  <c:v>45448</c:v>
                </c:pt>
                <c:pt idx="132">
                  <c:v>45449</c:v>
                </c:pt>
                <c:pt idx="133">
                  <c:v>45450</c:v>
                </c:pt>
                <c:pt idx="134">
                  <c:v>45453</c:v>
                </c:pt>
                <c:pt idx="135">
                  <c:v>45454</c:v>
                </c:pt>
                <c:pt idx="136">
                  <c:v>45455</c:v>
                </c:pt>
                <c:pt idx="137">
                  <c:v>45456</c:v>
                </c:pt>
                <c:pt idx="138">
                  <c:v>45457</c:v>
                </c:pt>
                <c:pt idx="139">
                  <c:v>45460</c:v>
                </c:pt>
                <c:pt idx="140">
                  <c:v>45461</c:v>
                </c:pt>
                <c:pt idx="141">
                  <c:v>45463</c:v>
                </c:pt>
                <c:pt idx="142">
                  <c:v>45464</c:v>
                </c:pt>
                <c:pt idx="143">
                  <c:v>45467</c:v>
                </c:pt>
                <c:pt idx="144">
                  <c:v>45468</c:v>
                </c:pt>
                <c:pt idx="145">
                  <c:v>45469</c:v>
                </c:pt>
                <c:pt idx="146">
                  <c:v>45470</c:v>
                </c:pt>
                <c:pt idx="147">
                  <c:v>45471</c:v>
                </c:pt>
                <c:pt idx="148">
                  <c:v>45474</c:v>
                </c:pt>
                <c:pt idx="149">
                  <c:v>45475</c:v>
                </c:pt>
                <c:pt idx="150">
                  <c:v>45476</c:v>
                </c:pt>
                <c:pt idx="151">
                  <c:v>45478</c:v>
                </c:pt>
                <c:pt idx="152">
                  <c:v>45481</c:v>
                </c:pt>
                <c:pt idx="153">
                  <c:v>45482</c:v>
                </c:pt>
                <c:pt idx="154">
                  <c:v>45483</c:v>
                </c:pt>
                <c:pt idx="155">
                  <c:v>45484</c:v>
                </c:pt>
                <c:pt idx="156">
                  <c:v>45485</c:v>
                </c:pt>
                <c:pt idx="157">
                  <c:v>45488</c:v>
                </c:pt>
                <c:pt idx="158">
                  <c:v>45489</c:v>
                </c:pt>
                <c:pt idx="159">
                  <c:v>45490</c:v>
                </c:pt>
                <c:pt idx="160">
                  <c:v>45491</c:v>
                </c:pt>
                <c:pt idx="161">
                  <c:v>45492</c:v>
                </c:pt>
                <c:pt idx="162">
                  <c:v>45495</c:v>
                </c:pt>
                <c:pt idx="163">
                  <c:v>45496</c:v>
                </c:pt>
                <c:pt idx="164">
                  <c:v>45497</c:v>
                </c:pt>
                <c:pt idx="165">
                  <c:v>45498</c:v>
                </c:pt>
                <c:pt idx="166">
                  <c:v>45499</c:v>
                </c:pt>
                <c:pt idx="167">
                  <c:v>45502</c:v>
                </c:pt>
                <c:pt idx="168">
                  <c:v>45503</c:v>
                </c:pt>
                <c:pt idx="169">
                  <c:v>45504</c:v>
                </c:pt>
                <c:pt idx="170">
                  <c:v>45505</c:v>
                </c:pt>
                <c:pt idx="171">
                  <c:v>45506</c:v>
                </c:pt>
                <c:pt idx="172">
                  <c:v>45509</c:v>
                </c:pt>
                <c:pt idx="173">
                  <c:v>45510</c:v>
                </c:pt>
                <c:pt idx="174">
                  <c:v>45511</c:v>
                </c:pt>
                <c:pt idx="175">
                  <c:v>45512</c:v>
                </c:pt>
                <c:pt idx="176">
                  <c:v>45513</c:v>
                </c:pt>
                <c:pt idx="177">
                  <c:v>45516</c:v>
                </c:pt>
                <c:pt idx="178">
                  <c:v>45517</c:v>
                </c:pt>
                <c:pt idx="179">
                  <c:v>45518</c:v>
                </c:pt>
                <c:pt idx="180">
                  <c:v>45519</c:v>
                </c:pt>
                <c:pt idx="181">
                  <c:v>45520</c:v>
                </c:pt>
                <c:pt idx="182">
                  <c:v>45523</c:v>
                </c:pt>
                <c:pt idx="183">
                  <c:v>45524</c:v>
                </c:pt>
                <c:pt idx="184">
                  <c:v>45525</c:v>
                </c:pt>
                <c:pt idx="185">
                  <c:v>45526</c:v>
                </c:pt>
                <c:pt idx="186">
                  <c:v>45527</c:v>
                </c:pt>
                <c:pt idx="187">
                  <c:v>45530</c:v>
                </c:pt>
                <c:pt idx="188">
                  <c:v>45531</c:v>
                </c:pt>
                <c:pt idx="189">
                  <c:v>45532</c:v>
                </c:pt>
                <c:pt idx="190">
                  <c:v>45533</c:v>
                </c:pt>
                <c:pt idx="191">
                  <c:v>45534</c:v>
                </c:pt>
                <c:pt idx="192">
                  <c:v>45538</c:v>
                </c:pt>
                <c:pt idx="193">
                  <c:v>45539</c:v>
                </c:pt>
                <c:pt idx="194">
                  <c:v>45540</c:v>
                </c:pt>
                <c:pt idx="195">
                  <c:v>45541</c:v>
                </c:pt>
                <c:pt idx="196">
                  <c:v>45544</c:v>
                </c:pt>
                <c:pt idx="197">
                  <c:v>45545</c:v>
                </c:pt>
                <c:pt idx="198">
                  <c:v>45546</c:v>
                </c:pt>
                <c:pt idx="199">
                  <c:v>45547</c:v>
                </c:pt>
                <c:pt idx="200">
                  <c:v>45548</c:v>
                </c:pt>
                <c:pt idx="201">
                  <c:v>45551</c:v>
                </c:pt>
                <c:pt idx="202">
                  <c:v>45552</c:v>
                </c:pt>
                <c:pt idx="203">
                  <c:v>45553</c:v>
                </c:pt>
                <c:pt idx="204">
                  <c:v>45554</c:v>
                </c:pt>
                <c:pt idx="205">
                  <c:v>45555</c:v>
                </c:pt>
                <c:pt idx="206">
                  <c:v>45558</c:v>
                </c:pt>
                <c:pt idx="207">
                  <c:v>45559</c:v>
                </c:pt>
                <c:pt idx="208">
                  <c:v>45560</c:v>
                </c:pt>
                <c:pt idx="209">
                  <c:v>45561</c:v>
                </c:pt>
                <c:pt idx="210">
                  <c:v>45562</c:v>
                </c:pt>
                <c:pt idx="211">
                  <c:v>45565</c:v>
                </c:pt>
                <c:pt idx="212">
                  <c:v>45566</c:v>
                </c:pt>
                <c:pt idx="213">
                  <c:v>45567</c:v>
                </c:pt>
                <c:pt idx="214">
                  <c:v>45568</c:v>
                </c:pt>
                <c:pt idx="215">
                  <c:v>45569</c:v>
                </c:pt>
                <c:pt idx="216">
                  <c:v>45572</c:v>
                </c:pt>
                <c:pt idx="217">
                  <c:v>45573</c:v>
                </c:pt>
                <c:pt idx="218">
                  <c:v>45574</c:v>
                </c:pt>
                <c:pt idx="219">
                  <c:v>45575</c:v>
                </c:pt>
                <c:pt idx="220">
                  <c:v>45576</c:v>
                </c:pt>
                <c:pt idx="221">
                  <c:v>45579</c:v>
                </c:pt>
                <c:pt idx="222">
                  <c:v>45580</c:v>
                </c:pt>
                <c:pt idx="223">
                  <c:v>45581</c:v>
                </c:pt>
                <c:pt idx="224">
                  <c:v>45582</c:v>
                </c:pt>
                <c:pt idx="225">
                  <c:v>45583</c:v>
                </c:pt>
                <c:pt idx="226">
                  <c:v>45586</c:v>
                </c:pt>
                <c:pt idx="227">
                  <c:v>45587</c:v>
                </c:pt>
                <c:pt idx="228">
                  <c:v>45588</c:v>
                </c:pt>
                <c:pt idx="229">
                  <c:v>45589</c:v>
                </c:pt>
                <c:pt idx="230">
                  <c:v>45590</c:v>
                </c:pt>
                <c:pt idx="231">
                  <c:v>45593</c:v>
                </c:pt>
                <c:pt idx="232">
                  <c:v>45594</c:v>
                </c:pt>
                <c:pt idx="233">
                  <c:v>45595</c:v>
                </c:pt>
                <c:pt idx="234">
                  <c:v>45596</c:v>
                </c:pt>
                <c:pt idx="235">
                  <c:v>45597</c:v>
                </c:pt>
                <c:pt idx="236">
                  <c:v>45600</c:v>
                </c:pt>
                <c:pt idx="237">
                  <c:v>45601</c:v>
                </c:pt>
                <c:pt idx="238">
                  <c:v>45602</c:v>
                </c:pt>
                <c:pt idx="239">
                  <c:v>45603</c:v>
                </c:pt>
                <c:pt idx="240">
                  <c:v>45604</c:v>
                </c:pt>
                <c:pt idx="241">
                  <c:v>45607</c:v>
                </c:pt>
                <c:pt idx="242">
                  <c:v>45608</c:v>
                </c:pt>
                <c:pt idx="243">
                  <c:v>45609</c:v>
                </c:pt>
                <c:pt idx="244">
                  <c:v>45610</c:v>
                </c:pt>
                <c:pt idx="245">
                  <c:v>45611</c:v>
                </c:pt>
                <c:pt idx="246">
                  <c:v>45614</c:v>
                </c:pt>
                <c:pt idx="247">
                  <c:v>45615</c:v>
                </c:pt>
                <c:pt idx="248">
                  <c:v>45616</c:v>
                </c:pt>
                <c:pt idx="249">
                  <c:v>45617</c:v>
                </c:pt>
                <c:pt idx="250">
                  <c:v>45618</c:v>
                </c:pt>
                <c:pt idx="251">
                  <c:v>45621</c:v>
                </c:pt>
                <c:pt idx="252">
                  <c:v>45622</c:v>
                </c:pt>
              </c:numCache>
            </c:numRef>
          </c:cat>
          <c:val>
            <c:numRef>
              <c:f>Sheet1!$B$2:$B$254</c:f>
              <c:numCache>
                <c:formatCode>0.00\%</c:formatCode>
                <c:ptCount val="253"/>
                <c:pt idx="0">
                  <c:v>0</c:v>
                </c:pt>
                <c:pt idx="1">
                  <c:v>0.17</c:v>
                </c:pt>
                <c:pt idx="2">
                  <c:v>-1.47</c:v>
                </c:pt>
                <c:pt idx="3">
                  <c:v>-2.0299999999999998</c:v>
                </c:pt>
                <c:pt idx="4">
                  <c:v>0.64</c:v>
                </c:pt>
                <c:pt idx="5">
                  <c:v>2.76</c:v>
                </c:pt>
                <c:pt idx="6">
                  <c:v>3.02</c:v>
                </c:pt>
                <c:pt idx="7">
                  <c:v>1.21</c:v>
                </c:pt>
                <c:pt idx="8">
                  <c:v>0.38</c:v>
                </c:pt>
                <c:pt idx="9">
                  <c:v>3.06</c:v>
                </c:pt>
                <c:pt idx="10">
                  <c:v>4.0599999999999996</c:v>
                </c:pt>
                <c:pt idx="11">
                  <c:v>6.07</c:v>
                </c:pt>
                <c:pt idx="12">
                  <c:v>8.82</c:v>
                </c:pt>
                <c:pt idx="13">
                  <c:v>7.83</c:v>
                </c:pt>
                <c:pt idx="14">
                  <c:v>4.21</c:v>
                </c:pt>
                <c:pt idx="15">
                  <c:v>6.1</c:v>
                </c:pt>
                <c:pt idx="16">
                  <c:v>7.85</c:v>
                </c:pt>
                <c:pt idx="17">
                  <c:v>6.35</c:v>
                </c:pt>
                <c:pt idx="18">
                  <c:v>8.34</c:v>
                </c:pt>
                <c:pt idx="19">
                  <c:v>8.25</c:v>
                </c:pt>
                <c:pt idx="20">
                  <c:v>8.89</c:v>
                </c:pt>
                <c:pt idx="21">
                  <c:v>7.31</c:v>
                </c:pt>
                <c:pt idx="22">
                  <c:v>6.07</c:v>
                </c:pt>
                <c:pt idx="23">
                  <c:v>4.3099999999999996</c:v>
                </c:pt>
                <c:pt idx="24">
                  <c:v>4.74</c:v>
                </c:pt>
                <c:pt idx="25">
                  <c:v>1.83</c:v>
                </c:pt>
                <c:pt idx="26">
                  <c:v>1.01</c:v>
                </c:pt>
                <c:pt idx="27">
                  <c:v>-0.84</c:v>
                </c:pt>
                <c:pt idx="28">
                  <c:v>1.97</c:v>
                </c:pt>
                <c:pt idx="29">
                  <c:v>0.26</c:v>
                </c:pt>
                <c:pt idx="30">
                  <c:v>-0.44</c:v>
                </c:pt>
                <c:pt idx="31">
                  <c:v>-0.43</c:v>
                </c:pt>
                <c:pt idx="32">
                  <c:v>-2.27</c:v>
                </c:pt>
                <c:pt idx="33">
                  <c:v>0.54</c:v>
                </c:pt>
                <c:pt idx="34">
                  <c:v>0.78</c:v>
                </c:pt>
                <c:pt idx="35">
                  <c:v>1.72</c:v>
                </c:pt>
                <c:pt idx="36">
                  <c:v>2.4500000000000002</c:v>
                </c:pt>
                <c:pt idx="37">
                  <c:v>2.79</c:v>
                </c:pt>
                <c:pt idx="38">
                  <c:v>1.83</c:v>
                </c:pt>
                <c:pt idx="39">
                  <c:v>1.24</c:v>
                </c:pt>
                <c:pt idx="40">
                  <c:v>-0.08</c:v>
                </c:pt>
                <c:pt idx="41">
                  <c:v>0.55000000000000004</c:v>
                </c:pt>
                <c:pt idx="42">
                  <c:v>-7.0000000000000007E-2</c:v>
                </c:pt>
                <c:pt idx="43">
                  <c:v>-0.93</c:v>
                </c:pt>
                <c:pt idx="44">
                  <c:v>-2.71</c:v>
                </c:pt>
                <c:pt idx="45">
                  <c:v>-0.57999999999999996</c:v>
                </c:pt>
                <c:pt idx="46">
                  <c:v>-0.15</c:v>
                </c:pt>
                <c:pt idx="47">
                  <c:v>0.11</c:v>
                </c:pt>
                <c:pt idx="48">
                  <c:v>-1.81</c:v>
                </c:pt>
                <c:pt idx="49">
                  <c:v>-2.5099999999999998</c:v>
                </c:pt>
                <c:pt idx="50">
                  <c:v>2.13</c:v>
                </c:pt>
                <c:pt idx="51">
                  <c:v>5.88</c:v>
                </c:pt>
                <c:pt idx="52">
                  <c:v>7.31</c:v>
                </c:pt>
                <c:pt idx="53">
                  <c:v>1.58</c:v>
                </c:pt>
                <c:pt idx="54">
                  <c:v>3.67</c:v>
                </c:pt>
                <c:pt idx="55">
                  <c:v>5.43</c:v>
                </c:pt>
                <c:pt idx="56">
                  <c:v>5.94</c:v>
                </c:pt>
                <c:pt idx="57">
                  <c:v>2.93</c:v>
                </c:pt>
                <c:pt idx="58">
                  <c:v>2.73</c:v>
                </c:pt>
                <c:pt idx="59">
                  <c:v>1.1100000000000001</c:v>
                </c:pt>
                <c:pt idx="60">
                  <c:v>0.1</c:v>
                </c:pt>
                <c:pt idx="61">
                  <c:v>-1.89</c:v>
                </c:pt>
                <c:pt idx="62">
                  <c:v>3.47</c:v>
                </c:pt>
                <c:pt idx="63">
                  <c:v>3.19</c:v>
                </c:pt>
                <c:pt idx="64">
                  <c:v>3.67</c:v>
                </c:pt>
                <c:pt idx="65">
                  <c:v>5.45</c:v>
                </c:pt>
                <c:pt idx="66">
                  <c:v>7.57</c:v>
                </c:pt>
                <c:pt idx="67">
                  <c:v>9.75</c:v>
                </c:pt>
                <c:pt idx="68">
                  <c:v>11.5</c:v>
                </c:pt>
                <c:pt idx="69">
                  <c:v>13.02</c:v>
                </c:pt>
                <c:pt idx="70">
                  <c:v>14.87</c:v>
                </c:pt>
                <c:pt idx="71">
                  <c:v>10.95</c:v>
                </c:pt>
                <c:pt idx="72">
                  <c:v>10.75</c:v>
                </c:pt>
                <c:pt idx="73">
                  <c:v>11.34</c:v>
                </c:pt>
                <c:pt idx="74">
                  <c:v>10.16</c:v>
                </c:pt>
                <c:pt idx="75">
                  <c:v>8.7100000000000009</c:v>
                </c:pt>
                <c:pt idx="76">
                  <c:v>13.7</c:v>
                </c:pt>
                <c:pt idx="77">
                  <c:v>12.95</c:v>
                </c:pt>
                <c:pt idx="78">
                  <c:v>13.74</c:v>
                </c:pt>
                <c:pt idx="79">
                  <c:v>13.81</c:v>
                </c:pt>
                <c:pt idx="80">
                  <c:v>16.28</c:v>
                </c:pt>
                <c:pt idx="81">
                  <c:v>15.39</c:v>
                </c:pt>
                <c:pt idx="82">
                  <c:v>15.22</c:v>
                </c:pt>
                <c:pt idx="83">
                  <c:v>16.55</c:v>
                </c:pt>
                <c:pt idx="84">
                  <c:v>16.100000000000001</c:v>
                </c:pt>
                <c:pt idx="85">
                  <c:v>15.92</c:v>
                </c:pt>
                <c:pt idx="86">
                  <c:v>14.21</c:v>
                </c:pt>
                <c:pt idx="87">
                  <c:v>15.26</c:v>
                </c:pt>
                <c:pt idx="88">
                  <c:v>14.77</c:v>
                </c:pt>
                <c:pt idx="89">
                  <c:v>14.72</c:v>
                </c:pt>
                <c:pt idx="90">
                  <c:v>13.68</c:v>
                </c:pt>
                <c:pt idx="91">
                  <c:v>10.85</c:v>
                </c:pt>
                <c:pt idx="92">
                  <c:v>9</c:v>
                </c:pt>
                <c:pt idx="93">
                  <c:v>11.54</c:v>
                </c:pt>
                <c:pt idx="94">
                  <c:v>9.93</c:v>
                </c:pt>
                <c:pt idx="95">
                  <c:v>8.67</c:v>
                </c:pt>
                <c:pt idx="96">
                  <c:v>8.9700000000000006</c:v>
                </c:pt>
                <c:pt idx="97">
                  <c:v>8.5500000000000007</c:v>
                </c:pt>
                <c:pt idx="98">
                  <c:v>9.16</c:v>
                </c:pt>
                <c:pt idx="99">
                  <c:v>9.19</c:v>
                </c:pt>
                <c:pt idx="100">
                  <c:v>5.03</c:v>
                </c:pt>
                <c:pt idx="101">
                  <c:v>6.46</c:v>
                </c:pt>
                <c:pt idx="102">
                  <c:v>7.29</c:v>
                </c:pt>
                <c:pt idx="103">
                  <c:v>3.02</c:v>
                </c:pt>
                <c:pt idx="104">
                  <c:v>6.21</c:v>
                </c:pt>
                <c:pt idx="105">
                  <c:v>5.81</c:v>
                </c:pt>
                <c:pt idx="106">
                  <c:v>8.02</c:v>
                </c:pt>
                <c:pt idx="107">
                  <c:v>10.55</c:v>
                </c:pt>
                <c:pt idx="108">
                  <c:v>10.56</c:v>
                </c:pt>
                <c:pt idx="109">
                  <c:v>10.32</c:v>
                </c:pt>
                <c:pt idx="110">
                  <c:v>9.98</c:v>
                </c:pt>
                <c:pt idx="111">
                  <c:v>17.5</c:v>
                </c:pt>
                <c:pt idx="112">
                  <c:v>20.309999999999999</c:v>
                </c:pt>
                <c:pt idx="113">
                  <c:v>19.2</c:v>
                </c:pt>
                <c:pt idx="114">
                  <c:v>22.75</c:v>
                </c:pt>
                <c:pt idx="115">
                  <c:v>24.22</c:v>
                </c:pt>
                <c:pt idx="116">
                  <c:v>23.42</c:v>
                </c:pt>
                <c:pt idx="117">
                  <c:v>24.56</c:v>
                </c:pt>
                <c:pt idx="118">
                  <c:v>23.91</c:v>
                </c:pt>
                <c:pt idx="119">
                  <c:v>24.32</c:v>
                </c:pt>
                <c:pt idx="120">
                  <c:v>24.32</c:v>
                </c:pt>
                <c:pt idx="121">
                  <c:v>24.44</c:v>
                </c:pt>
                <c:pt idx="122">
                  <c:v>23.88</c:v>
                </c:pt>
                <c:pt idx="123">
                  <c:v>22.5</c:v>
                </c:pt>
                <c:pt idx="124">
                  <c:v>25.39</c:v>
                </c:pt>
                <c:pt idx="125">
                  <c:v>25.62</c:v>
                </c:pt>
                <c:pt idx="126">
                  <c:v>24.64</c:v>
                </c:pt>
                <c:pt idx="127">
                  <c:v>25.53</c:v>
                </c:pt>
                <c:pt idx="128">
                  <c:v>28.99</c:v>
                </c:pt>
                <c:pt idx="129">
                  <c:v>27.48</c:v>
                </c:pt>
                <c:pt idx="130">
                  <c:v>27.61</c:v>
                </c:pt>
                <c:pt idx="131">
                  <c:v>28.86</c:v>
                </c:pt>
                <c:pt idx="132">
                  <c:v>30.4</c:v>
                </c:pt>
                <c:pt idx="133">
                  <c:v>28.68</c:v>
                </c:pt>
                <c:pt idx="134">
                  <c:v>31.22</c:v>
                </c:pt>
                <c:pt idx="135">
                  <c:v>32.590000000000003</c:v>
                </c:pt>
                <c:pt idx="136">
                  <c:v>33.07</c:v>
                </c:pt>
                <c:pt idx="137">
                  <c:v>30.48</c:v>
                </c:pt>
                <c:pt idx="138">
                  <c:v>30.81</c:v>
                </c:pt>
                <c:pt idx="139">
                  <c:v>32.229999999999997</c:v>
                </c:pt>
                <c:pt idx="140">
                  <c:v>34.03</c:v>
                </c:pt>
                <c:pt idx="141">
                  <c:v>31.33</c:v>
                </c:pt>
                <c:pt idx="142">
                  <c:v>33.07</c:v>
                </c:pt>
                <c:pt idx="143">
                  <c:v>34.130000000000003</c:v>
                </c:pt>
                <c:pt idx="144">
                  <c:v>35.270000000000003</c:v>
                </c:pt>
                <c:pt idx="145">
                  <c:v>34.28</c:v>
                </c:pt>
                <c:pt idx="146">
                  <c:v>28.31</c:v>
                </c:pt>
                <c:pt idx="147">
                  <c:v>30.45</c:v>
                </c:pt>
                <c:pt idx="148">
                  <c:v>30.5</c:v>
                </c:pt>
                <c:pt idx="149">
                  <c:v>31.05</c:v>
                </c:pt>
                <c:pt idx="150">
                  <c:v>31.87</c:v>
                </c:pt>
                <c:pt idx="151">
                  <c:v>32.270000000000003</c:v>
                </c:pt>
                <c:pt idx="152">
                  <c:v>33.51</c:v>
                </c:pt>
                <c:pt idx="153">
                  <c:v>31.39</c:v>
                </c:pt>
                <c:pt idx="154">
                  <c:v>33.450000000000003</c:v>
                </c:pt>
                <c:pt idx="155">
                  <c:v>34.57</c:v>
                </c:pt>
                <c:pt idx="156">
                  <c:v>35.83</c:v>
                </c:pt>
                <c:pt idx="157">
                  <c:v>35.270000000000003</c:v>
                </c:pt>
                <c:pt idx="158">
                  <c:v>38</c:v>
                </c:pt>
                <c:pt idx="159">
                  <c:v>37.119999999999997</c:v>
                </c:pt>
                <c:pt idx="160">
                  <c:v>33.94</c:v>
                </c:pt>
                <c:pt idx="161">
                  <c:v>33.49</c:v>
                </c:pt>
                <c:pt idx="162">
                  <c:v>36.369999999999997</c:v>
                </c:pt>
                <c:pt idx="163">
                  <c:v>36.130000000000003</c:v>
                </c:pt>
                <c:pt idx="164">
                  <c:v>38.94</c:v>
                </c:pt>
                <c:pt idx="165">
                  <c:v>36.07</c:v>
                </c:pt>
                <c:pt idx="166">
                  <c:v>38.770000000000003</c:v>
                </c:pt>
                <c:pt idx="167">
                  <c:v>37.82</c:v>
                </c:pt>
                <c:pt idx="168">
                  <c:v>36.47</c:v>
                </c:pt>
                <c:pt idx="169">
                  <c:v>36.340000000000003</c:v>
                </c:pt>
                <c:pt idx="170">
                  <c:v>37.01</c:v>
                </c:pt>
                <c:pt idx="171">
                  <c:v>35.18</c:v>
                </c:pt>
                <c:pt idx="172">
                  <c:v>32.24</c:v>
                </c:pt>
                <c:pt idx="173">
                  <c:v>39.869999999999997</c:v>
                </c:pt>
                <c:pt idx="174">
                  <c:v>37.31</c:v>
                </c:pt>
                <c:pt idx="175">
                  <c:v>39.840000000000003</c:v>
                </c:pt>
                <c:pt idx="176">
                  <c:v>40.020000000000003</c:v>
                </c:pt>
                <c:pt idx="177">
                  <c:v>41</c:v>
                </c:pt>
                <c:pt idx="178">
                  <c:v>44.66</c:v>
                </c:pt>
                <c:pt idx="179">
                  <c:v>43.85</c:v>
                </c:pt>
                <c:pt idx="180">
                  <c:v>46.67</c:v>
                </c:pt>
                <c:pt idx="181">
                  <c:v>47.57</c:v>
                </c:pt>
                <c:pt idx="182">
                  <c:v>48.35</c:v>
                </c:pt>
                <c:pt idx="183">
                  <c:v>46.44</c:v>
                </c:pt>
                <c:pt idx="184">
                  <c:v>48.8</c:v>
                </c:pt>
                <c:pt idx="185">
                  <c:v>48.74</c:v>
                </c:pt>
                <c:pt idx="186">
                  <c:v>50.07</c:v>
                </c:pt>
                <c:pt idx="187">
                  <c:v>49.46</c:v>
                </c:pt>
                <c:pt idx="188">
                  <c:v>48.77</c:v>
                </c:pt>
                <c:pt idx="189">
                  <c:v>48.46</c:v>
                </c:pt>
                <c:pt idx="190">
                  <c:v>47.26</c:v>
                </c:pt>
                <c:pt idx="191">
                  <c:v>49.43</c:v>
                </c:pt>
                <c:pt idx="192">
                  <c:v>46.06</c:v>
                </c:pt>
                <c:pt idx="193">
                  <c:v>46.7</c:v>
                </c:pt>
                <c:pt idx="194">
                  <c:v>45.58</c:v>
                </c:pt>
                <c:pt idx="195">
                  <c:v>41.97</c:v>
                </c:pt>
                <c:pt idx="196">
                  <c:v>42.51</c:v>
                </c:pt>
                <c:pt idx="197">
                  <c:v>42.71</c:v>
                </c:pt>
                <c:pt idx="198">
                  <c:v>44.98</c:v>
                </c:pt>
                <c:pt idx="199">
                  <c:v>44.25</c:v>
                </c:pt>
                <c:pt idx="200">
                  <c:v>46.2</c:v>
                </c:pt>
                <c:pt idx="201">
                  <c:v>48.3</c:v>
                </c:pt>
                <c:pt idx="202">
                  <c:v>48.83</c:v>
                </c:pt>
                <c:pt idx="203">
                  <c:v>48.88</c:v>
                </c:pt>
                <c:pt idx="204">
                  <c:v>49.48</c:v>
                </c:pt>
                <c:pt idx="205">
                  <c:v>46.55</c:v>
                </c:pt>
                <c:pt idx="206">
                  <c:v>49.24</c:v>
                </c:pt>
                <c:pt idx="207">
                  <c:v>49.75</c:v>
                </c:pt>
                <c:pt idx="208">
                  <c:v>49.6</c:v>
                </c:pt>
                <c:pt idx="209">
                  <c:v>48.11</c:v>
                </c:pt>
                <c:pt idx="210">
                  <c:v>47.12</c:v>
                </c:pt>
                <c:pt idx="211">
                  <c:v>49.46</c:v>
                </c:pt>
                <c:pt idx="212">
                  <c:v>44.61</c:v>
                </c:pt>
                <c:pt idx="213">
                  <c:v>43.42</c:v>
                </c:pt>
                <c:pt idx="214">
                  <c:v>42.19</c:v>
                </c:pt>
                <c:pt idx="215">
                  <c:v>41.91</c:v>
                </c:pt>
                <c:pt idx="216">
                  <c:v>40.119999999999997</c:v>
                </c:pt>
                <c:pt idx="217">
                  <c:v>44.95</c:v>
                </c:pt>
                <c:pt idx="218">
                  <c:v>45.31</c:v>
                </c:pt>
                <c:pt idx="219">
                  <c:v>43.17</c:v>
                </c:pt>
                <c:pt idx="220">
                  <c:v>46.76</c:v>
                </c:pt>
                <c:pt idx="221">
                  <c:v>48.08</c:v>
                </c:pt>
                <c:pt idx="222">
                  <c:v>46.96</c:v>
                </c:pt>
                <c:pt idx="223">
                  <c:v>49.15</c:v>
                </c:pt>
                <c:pt idx="224">
                  <c:v>49.43</c:v>
                </c:pt>
                <c:pt idx="225">
                  <c:v>48.08</c:v>
                </c:pt>
                <c:pt idx="226">
                  <c:v>47.12</c:v>
                </c:pt>
                <c:pt idx="227">
                  <c:v>46.14</c:v>
                </c:pt>
                <c:pt idx="228">
                  <c:v>45.37</c:v>
                </c:pt>
                <c:pt idx="229">
                  <c:v>45.04</c:v>
                </c:pt>
                <c:pt idx="230">
                  <c:v>43.76</c:v>
                </c:pt>
                <c:pt idx="231">
                  <c:v>44.13</c:v>
                </c:pt>
                <c:pt idx="232">
                  <c:v>45.8</c:v>
                </c:pt>
                <c:pt idx="233">
                  <c:v>41.21</c:v>
                </c:pt>
                <c:pt idx="234">
                  <c:v>39.78</c:v>
                </c:pt>
                <c:pt idx="235">
                  <c:v>41.86</c:v>
                </c:pt>
                <c:pt idx="236">
                  <c:v>44.88</c:v>
                </c:pt>
                <c:pt idx="237">
                  <c:v>39.5</c:v>
                </c:pt>
                <c:pt idx="238">
                  <c:v>47.13</c:v>
                </c:pt>
                <c:pt idx="239">
                  <c:v>45.02</c:v>
                </c:pt>
                <c:pt idx="240">
                  <c:v>43.33</c:v>
                </c:pt>
                <c:pt idx="241">
                  <c:v>43.75</c:v>
                </c:pt>
                <c:pt idx="242">
                  <c:v>41.73</c:v>
                </c:pt>
                <c:pt idx="243">
                  <c:v>38.51</c:v>
                </c:pt>
                <c:pt idx="244">
                  <c:v>37.14</c:v>
                </c:pt>
                <c:pt idx="245">
                  <c:v>34.57</c:v>
                </c:pt>
                <c:pt idx="246">
                  <c:v>32.869999999999997</c:v>
                </c:pt>
                <c:pt idx="247">
                  <c:v>35.04</c:v>
                </c:pt>
                <c:pt idx="248">
                  <c:v>35.93</c:v>
                </c:pt>
                <c:pt idx="249">
                  <c:v>35.76</c:v>
                </c:pt>
                <c:pt idx="250">
                  <c:v>39.67</c:v>
                </c:pt>
                <c:pt idx="251">
                  <c:v>38.130000000000003</c:v>
                </c:pt>
                <c:pt idx="252">
                  <c:v>39.770000000000003</c:v>
                </c:pt>
              </c:numCache>
            </c:numRef>
          </c:val>
          <c:smooth val="0"/>
          <c:extLst>
            <c:ext xmlns:c16="http://schemas.microsoft.com/office/drawing/2014/chart" uri="{C3380CC4-5D6E-409C-BE32-E72D297353CC}">
              <c16:uniqueId val="{00000000-9B5C-4644-BCD6-E305F46A95FB}"/>
            </c:ext>
          </c:extLst>
        </c:ser>
        <c:ser>
          <c:idx val="1"/>
          <c:order val="1"/>
          <c:tx>
            <c:strRef>
              <c:f>Sheet1!$C$1</c:f>
              <c:strCache>
                <c:ptCount val="1"/>
                <c:pt idx="0">
                  <c:v>S&amp;P 500 Health Care</c:v>
                </c:pt>
              </c:strCache>
            </c:strRef>
          </c:tx>
          <c:spPr>
            <a:ln w="28575" cap="rnd">
              <a:solidFill>
                <a:schemeClr val="accent2"/>
              </a:solidFill>
              <a:round/>
            </a:ln>
            <a:effectLst/>
          </c:spPr>
          <c:marker>
            <c:symbol val="none"/>
          </c:marker>
          <c:cat>
            <c:numRef>
              <c:f>Sheet1!$A$2:$A$254</c:f>
              <c:numCache>
                <c:formatCode>[$-409]mmm\-dd\-yyyy;@</c:formatCode>
                <c:ptCount val="253"/>
                <c:pt idx="0">
                  <c:v>45257</c:v>
                </c:pt>
                <c:pt idx="1">
                  <c:v>45258</c:v>
                </c:pt>
                <c:pt idx="2">
                  <c:v>45259</c:v>
                </c:pt>
                <c:pt idx="3">
                  <c:v>45260</c:v>
                </c:pt>
                <c:pt idx="4">
                  <c:v>45261</c:v>
                </c:pt>
                <c:pt idx="5">
                  <c:v>45264</c:v>
                </c:pt>
                <c:pt idx="6">
                  <c:v>45265</c:v>
                </c:pt>
                <c:pt idx="7">
                  <c:v>45266</c:v>
                </c:pt>
                <c:pt idx="8">
                  <c:v>45267</c:v>
                </c:pt>
                <c:pt idx="9">
                  <c:v>45268</c:v>
                </c:pt>
                <c:pt idx="10">
                  <c:v>45271</c:v>
                </c:pt>
                <c:pt idx="11">
                  <c:v>45272</c:v>
                </c:pt>
                <c:pt idx="12">
                  <c:v>45273</c:v>
                </c:pt>
                <c:pt idx="13">
                  <c:v>45274</c:v>
                </c:pt>
                <c:pt idx="14">
                  <c:v>45275</c:v>
                </c:pt>
                <c:pt idx="15">
                  <c:v>45278</c:v>
                </c:pt>
                <c:pt idx="16">
                  <c:v>45279</c:v>
                </c:pt>
                <c:pt idx="17">
                  <c:v>45280</c:v>
                </c:pt>
                <c:pt idx="18">
                  <c:v>45281</c:v>
                </c:pt>
                <c:pt idx="19">
                  <c:v>45282</c:v>
                </c:pt>
                <c:pt idx="20">
                  <c:v>45286</c:v>
                </c:pt>
                <c:pt idx="21">
                  <c:v>45287</c:v>
                </c:pt>
                <c:pt idx="22">
                  <c:v>45288</c:v>
                </c:pt>
                <c:pt idx="23">
                  <c:v>45289</c:v>
                </c:pt>
                <c:pt idx="24">
                  <c:v>45293</c:v>
                </c:pt>
                <c:pt idx="25">
                  <c:v>45294</c:v>
                </c:pt>
                <c:pt idx="26">
                  <c:v>45295</c:v>
                </c:pt>
                <c:pt idx="27">
                  <c:v>45296</c:v>
                </c:pt>
                <c:pt idx="28">
                  <c:v>45299</c:v>
                </c:pt>
                <c:pt idx="29">
                  <c:v>45300</c:v>
                </c:pt>
                <c:pt idx="30">
                  <c:v>45301</c:v>
                </c:pt>
                <c:pt idx="31">
                  <c:v>45302</c:v>
                </c:pt>
                <c:pt idx="32">
                  <c:v>45303</c:v>
                </c:pt>
                <c:pt idx="33">
                  <c:v>45307</c:v>
                </c:pt>
                <c:pt idx="34">
                  <c:v>45308</c:v>
                </c:pt>
                <c:pt idx="35">
                  <c:v>45309</c:v>
                </c:pt>
                <c:pt idx="36">
                  <c:v>45310</c:v>
                </c:pt>
                <c:pt idx="37">
                  <c:v>45313</c:v>
                </c:pt>
                <c:pt idx="38">
                  <c:v>45314</c:v>
                </c:pt>
                <c:pt idx="39">
                  <c:v>45315</c:v>
                </c:pt>
                <c:pt idx="40">
                  <c:v>45316</c:v>
                </c:pt>
                <c:pt idx="41">
                  <c:v>45317</c:v>
                </c:pt>
                <c:pt idx="42">
                  <c:v>45320</c:v>
                </c:pt>
                <c:pt idx="43">
                  <c:v>45321</c:v>
                </c:pt>
                <c:pt idx="44">
                  <c:v>45322</c:v>
                </c:pt>
                <c:pt idx="45">
                  <c:v>45323</c:v>
                </c:pt>
                <c:pt idx="46">
                  <c:v>45324</c:v>
                </c:pt>
                <c:pt idx="47">
                  <c:v>45327</c:v>
                </c:pt>
                <c:pt idx="48">
                  <c:v>45328</c:v>
                </c:pt>
                <c:pt idx="49">
                  <c:v>45329</c:v>
                </c:pt>
                <c:pt idx="50">
                  <c:v>45330</c:v>
                </c:pt>
                <c:pt idx="51">
                  <c:v>45331</c:v>
                </c:pt>
                <c:pt idx="52">
                  <c:v>45334</c:v>
                </c:pt>
                <c:pt idx="53">
                  <c:v>45335</c:v>
                </c:pt>
                <c:pt idx="54">
                  <c:v>45336</c:v>
                </c:pt>
                <c:pt idx="55">
                  <c:v>45337</c:v>
                </c:pt>
                <c:pt idx="56">
                  <c:v>45338</c:v>
                </c:pt>
                <c:pt idx="57">
                  <c:v>45342</c:v>
                </c:pt>
                <c:pt idx="58">
                  <c:v>45343</c:v>
                </c:pt>
                <c:pt idx="59">
                  <c:v>45344</c:v>
                </c:pt>
                <c:pt idx="60">
                  <c:v>45345</c:v>
                </c:pt>
                <c:pt idx="61">
                  <c:v>45348</c:v>
                </c:pt>
                <c:pt idx="62">
                  <c:v>45349</c:v>
                </c:pt>
                <c:pt idx="63">
                  <c:v>45350</c:v>
                </c:pt>
                <c:pt idx="64">
                  <c:v>45351</c:v>
                </c:pt>
                <c:pt idx="65">
                  <c:v>45352</c:v>
                </c:pt>
                <c:pt idx="66">
                  <c:v>45355</c:v>
                </c:pt>
                <c:pt idx="67">
                  <c:v>45356</c:v>
                </c:pt>
                <c:pt idx="68">
                  <c:v>45357</c:v>
                </c:pt>
                <c:pt idx="69">
                  <c:v>45358</c:v>
                </c:pt>
                <c:pt idx="70">
                  <c:v>45359</c:v>
                </c:pt>
                <c:pt idx="71">
                  <c:v>45362</c:v>
                </c:pt>
                <c:pt idx="72">
                  <c:v>45363</c:v>
                </c:pt>
                <c:pt idx="73">
                  <c:v>45364</c:v>
                </c:pt>
                <c:pt idx="74">
                  <c:v>45365</c:v>
                </c:pt>
                <c:pt idx="75">
                  <c:v>45366</c:v>
                </c:pt>
                <c:pt idx="76">
                  <c:v>45369</c:v>
                </c:pt>
                <c:pt idx="77">
                  <c:v>45370</c:v>
                </c:pt>
                <c:pt idx="78">
                  <c:v>45371</c:v>
                </c:pt>
                <c:pt idx="79">
                  <c:v>45372</c:v>
                </c:pt>
                <c:pt idx="80">
                  <c:v>45373</c:v>
                </c:pt>
                <c:pt idx="81">
                  <c:v>45376</c:v>
                </c:pt>
                <c:pt idx="82">
                  <c:v>45377</c:v>
                </c:pt>
                <c:pt idx="83">
                  <c:v>45378</c:v>
                </c:pt>
                <c:pt idx="84">
                  <c:v>45379</c:v>
                </c:pt>
                <c:pt idx="85">
                  <c:v>45383</c:v>
                </c:pt>
                <c:pt idx="86">
                  <c:v>45384</c:v>
                </c:pt>
                <c:pt idx="87">
                  <c:v>45385</c:v>
                </c:pt>
                <c:pt idx="88">
                  <c:v>45386</c:v>
                </c:pt>
                <c:pt idx="89">
                  <c:v>45387</c:v>
                </c:pt>
                <c:pt idx="90">
                  <c:v>45390</c:v>
                </c:pt>
                <c:pt idx="91">
                  <c:v>45391</c:v>
                </c:pt>
                <c:pt idx="92">
                  <c:v>45392</c:v>
                </c:pt>
                <c:pt idx="93">
                  <c:v>45393</c:v>
                </c:pt>
                <c:pt idx="94">
                  <c:v>45394</c:v>
                </c:pt>
                <c:pt idx="95">
                  <c:v>45397</c:v>
                </c:pt>
                <c:pt idx="96">
                  <c:v>45398</c:v>
                </c:pt>
                <c:pt idx="97">
                  <c:v>45399</c:v>
                </c:pt>
                <c:pt idx="98">
                  <c:v>45400</c:v>
                </c:pt>
                <c:pt idx="99">
                  <c:v>45401</c:v>
                </c:pt>
                <c:pt idx="100">
                  <c:v>45404</c:v>
                </c:pt>
                <c:pt idx="101">
                  <c:v>45405</c:v>
                </c:pt>
                <c:pt idx="102">
                  <c:v>45406</c:v>
                </c:pt>
                <c:pt idx="103">
                  <c:v>45407</c:v>
                </c:pt>
                <c:pt idx="104">
                  <c:v>45408</c:v>
                </c:pt>
                <c:pt idx="105">
                  <c:v>45411</c:v>
                </c:pt>
                <c:pt idx="106">
                  <c:v>45412</c:v>
                </c:pt>
                <c:pt idx="107">
                  <c:v>45413</c:v>
                </c:pt>
                <c:pt idx="108">
                  <c:v>45414</c:v>
                </c:pt>
                <c:pt idx="109">
                  <c:v>45415</c:v>
                </c:pt>
                <c:pt idx="110">
                  <c:v>45418</c:v>
                </c:pt>
                <c:pt idx="111">
                  <c:v>45419</c:v>
                </c:pt>
                <c:pt idx="112">
                  <c:v>45420</c:v>
                </c:pt>
                <c:pt idx="113">
                  <c:v>45421</c:v>
                </c:pt>
                <c:pt idx="114">
                  <c:v>45422</c:v>
                </c:pt>
                <c:pt idx="115">
                  <c:v>45425</c:v>
                </c:pt>
                <c:pt idx="116">
                  <c:v>45426</c:v>
                </c:pt>
                <c:pt idx="117">
                  <c:v>45427</c:v>
                </c:pt>
                <c:pt idx="118">
                  <c:v>45428</c:v>
                </c:pt>
                <c:pt idx="119">
                  <c:v>45429</c:v>
                </c:pt>
                <c:pt idx="120">
                  <c:v>45432</c:v>
                </c:pt>
                <c:pt idx="121">
                  <c:v>45433</c:v>
                </c:pt>
                <c:pt idx="122">
                  <c:v>45434</c:v>
                </c:pt>
                <c:pt idx="123">
                  <c:v>45435</c:v>
                </c:pt>
                <c:pt idx="124">
                  <c:v>45436</c:v>
                </c:pt>
                <c:pt idx="125">
                  <c:v>45440</c:v>
                </c:pt>
                <c:pt idx="126">
                  <c:v>45441</c:v>
                </c:pt>
                <c:pt idx="127">
                  <c:v>45442</c:v>
                </c:pt>
                <c:pt idx="128">
                  <c:v>45443</c:v>
                </c:pt>
                <c:pt idx="129">
                  <c:v>45446</c:v>
                </c:pt>
                <c:pt idx="130">
                  <c:v>45447</c:v>
                </c:pt>
                <c:pt idx="131">
                  <c:v>45448</c:v>
                </c:pt>
                <c:pt idx="132">
                  <c:v>45449</c:v>
                </c:pt>
                <c:pt idx="133">
                  <c:v>45450</c:v>
                </c:pt>
                <c:pt idx="134">
                  <c:v>45453</c:v>
                </c:pt>
                <c:pt idx="135">
                  <c:v>45454</c:v>
                </c:pt>
                <c:pt idx="136">
                  <c:v>45455</c:v>
                </c:pt>
                <c:pt idx="137">
                  <c:v>45456</c:v>
                </c:pt>
                <c:pt idx="138">
                  <c:v>45457</c:v>
                </c:pt>
                <c:pt idx="139">
                  <c:v>45460</c:v>
                </c:pt>
                <c:pt idx="140">
                  <c:v>45461</c:v>
                </c:pt>
                <c:pt idx="141">
                  <c:v>45463</c:v>
                </c:pt>
                <c:pt idx="142">
                  <c:v>45464</c:v>
                </c:pt>
                <c:pt idx="143">
                  <c:v>45467</c:v>
                </c:pt>
                <c:pt idx="144">
                  <c:v>45468</c:v>
                </c:pt>
                <c:pt idx="145">
                  <c:v>45469</c:v>
                </c:pt>
                <c:pt idx="146">
                  <c:v>45470</c:v>
                </c:pt>
                <c:pt idx="147">
                  <c:v>45471</c:v>
                </c:pt>
                <c:pt idx="148">
                  <c:v>45474</c:v>
                </c:pt>
                <c:pt idx="149">
                  <c:v>45475</c:v>
                </c:pt>
                <c:pt idx="150">
                  <c:v>45476</c:v>
                </c:pt>
                <c:pt idx="151">
                  <c:v>45478</c:v>
                </c:pt>
                <c:pt idx="152">
                  <c:v>45481</c:v>
                </c:pt>
                <c:pt idx="153">
                  <c:v>45482</c:v>
                </c:pt>
                <c:pt idx="154">
                  <c:v>45483</c:v>
                </c:pt>
                <c:pt idx="155">
                  <c:v>45484</c:v>
                </c:pt>
                <c:pt idx="156">
                  <c:v>45485</c:v>
                </c:pt>
                <c:pt idx="157">
                  <c:v>45488</c:v>
                </c:pt>
                <c:pt idx="158">
                  <c:v>45489</c:v>
                </c:pt>
                <c:pt idx="159">
                  <c:v>45490</c:v>
                </c:pt>
                <c:pt idx="160">
                  <c:v>45491</c:v>
                </c:pt>
                <c:pt idx="161">
                  <c:v>45492</c:v>
                </c:pt>
                <c:pt idx="162">
                  <c:v>45495</c:v>
                </c:pt>
                <c:pt idx="163">
                  <c:v>45496</c:v>
                </c:pt>
                <c:pt idx="164">
                  <c:v>45497</c:v>
                </c:pt>
                <c:pt idx="165">
                  <c:v>45498</c:v>
                </c:pt>
                <c:pt idx="166">
                  <c:v>45499</c:v>
                </c:pt>
                <c:pt idx="167">
                  <c:v>45502</c:v>
                </c:pt>
                <c:pt idx="168">
                  <c:v>45503</c:v>
                </c:pt>
                <c:pt idx="169">
                  <c:v>45504</c:v>
                </c:pt>
                <c:pt idx="170">
                  <c:v>45505</c:v>
                </c:pt>
                <c:pt idx="171">
                  <c:v>45506</c:v>
                </c:pt>
                <c:pt idx="172">
                  <c:v>45509</c:v>
                </c:pt>
                <c:pt idx="173">
                  <c:v>45510</c:v>
                </c:pt>
                <c:pt idx="174">
                  <c:v>45511</c:v>
                </c:pt>
                <c:pt idx="175">
                  <c:v>45512</c:v>
                </c:pt>
                <c:pt idx="176">
                  <c:v>45513</c:v>
                </c:pt>
                <c:pt idx="177">
                  <c:v>45516</c:v>
                </c:pt>
                <c:pt idx="178">
                  <c:v>45517</c:v>
                </c:pt>
                <c:pt idx="179">
                  <c:v>45518</c:v>
                </c:pt>
                <c:pt idx="180">
                  <c:v>45519</c:v>
                </c:pt>
                <c:pt idx="181">
                  <c:v>45520</c:v>
                </c:pt>
                <c:pt idx="182">
                  <c:v>45523</c:v>
                </c:pt>
                <c:pt idx="183">
                  <c:v>45524</c:v>
                </c:pt>
                <c:pt idx="184">
                  <c:v>45525</c:v>
                </c:pt>
                <c:pt idx="185">
                  <c:v>45526</c:v>
                </c:pt>
                <c:pt idx="186">
                  <c:v>45527</c:v>
                </c:pt>
                <c:pt idx="187">
                  <c:v>45530</c:v>
                </c:pt>
                <c:pt idx="188">
                  <c:v>45531</c:v>
                </c:pt>
                <c:pt idx="189">
                  <c:v>45532</c:v>
                </c:pt>
                <c:pt idx="190">
                  <c:v>45533</c:v>
                </c:pt>
                <c:pt idx="191">
                  <c:v>45534</c:v>
                </c:pt>
                <c:pt idx="192">
                  <c:v>45538</c:v>
                </c:pt>
                <c:pt idx="193">
                  <c:v>45539</c:v>
                </c:pt>
                <c:pt idx="194">
                  <c:v>45540</c:v>
                </c:pt>
                <c:pt idx="195">
                  <c:v>45541</c:v>
                </c:pt>
                <c:pt idx="196">
                  <c:v>45544</c:v>
                </c:pt>
                <c:pt idx="197">
                  <c:v>45545</c:v>
                </c:pt>
                <c:pt idx="198">
                  <c:v>45546</c:v>
                </c:pt>
                <c:pt idx="199">
                  <c:v>45547</c:v>
                </c:pt>
                <c:pt idx="200">
                  <c:v>45548</c:v>
                </c:pt>
                <c:pt idx="201">
                  <c:v>45551</c:v>
                </c:pt>
                <c:pt idx="202">
                  <c:v>45552</c:v>
                </c:pt>
                <c:pt idx="203">
                  <c:v>45553</c:v>
                </c:pt>
                <c:pt idx="204">
                  <c:v>45554</c:v>
                </c:pt>
                <c:pt idx="205">
                  <c:v>45555</c:v>
                </c:pt>
                <c:pt idx="206">
                  <c:v>45558</c:v>
                </c:pt>
                <c:pt idx="207">
                  <c:v>45559</c:v>
                </c:pt>
                <c:pt idx="208">
                  <c:v>45560</c:v>
                </c:pt>
                <c:pt idx="209">
                  <c:v>45561</c:v>
                </c:pt>
                <c:pt idx="210">
                  <c:v>45562</c:v>
                </c:pt>
                <c:pt idx="211">
                  <c:v>45565</c:v>
                </c:pt>
                <c:pt idx="212">
                  <c:v>45566</c:v>
                </c:pt>
                <c:pt idx="213">
                  <c:v>45567</c:v>
                </c:pt>
                <c:pt idx="214">
                  <c:v>45568</c:v>
                </c:pt>
                <c:pt idx="215">
                  <c:v>45569</c:v>
                </c:pt>
                <c:pt idx="216">
                  <c:v>45572</c:v>
                </c:pt>
                <c:pt idx="217">
                  <c:v>45573</c:v>
                </c:pt>
                <c:pt idx="218">
                  <c:v>45574</c:v>
                </c:pt>
                <c:pt idx="219">
                  <c:v>45575</c:v>
                </c:pt>
                <c:pt idx="220">
                  <c:v>45576</c:v>
                </c:pt>
                <c:pt idx="221">
                  <c:v>45579</c:v>
                </c:pt>
                <c:pt idx="222">
                  <c:v>45580</c:v>
                </c:pt>
                <c:pt idx="223">
                  <c:v>45581</c:v>
                </c:pt>
                <c:pt idx="224">
                  <c:v>45582</c:v>
                </c:pt>
                <c:pt idx="225">
                  <c:v>45583</c:v>
                </c:pt>
                <c:pt idx="226">
                  <c:v>45586</c:v>
                </c:pt>
                <c:pt idx="227">
                  <c:v>45587</c:v>
                </c:pt>
                <c:pt idx="228">
                  <c:v>45588</c:v>
                </c:pt>
                <c:pt idx="229">
                  <c:v>45589</c:v>
                </c:pt>
                <c:pt idx="230">
                  <c:v>45590</c:v>
                </c:pt>
                <c:pt idx="231">
                  <c:v>45593</c:v>
                </c:pt>
                <c:pt idx="232">
                  <c:v>45594</c:v>
                </c:pt>
                <c:pt idx="233">
                  <c:v>45595</c:v>
                </c:pt>
                <c:pt idx="234">
                  <c:v>45596</c:v>
                </c:pt>
                <c:pt idx="235">
                  <c:v>45597</c:v>
                </c:pt>
                <c:pt idx="236">
                  <c:v>45600</c:v>
                </c:pt>
                <c:pt idx="237">
                  <c:v>45601</c:v>
                </c:pt>
                <c:pt idx="238">
                  <c:v>45602</c:v>
                </c:pt>
                <c:pt idx="239">
                  <c:v>45603</c:v>
                </c:pt>
                <c:pt idx="240">
                  <c:v>45604</c:v>
                </c:pt>
                <c:pt idx="241">
                  <c:v>45607</c:v>
                </c:pt>
                <c:pt idx="242">
                  <c:v>45608</c:v>
                </c:pt>
                <c:pt idx="243">
                  <c:v>45609</c:v>
                </c:pt>
                <c:pt idx="244">
                  <c:v>45610</c:v>
                </c:pt>
                <c:pt idx="245">
                  <c:v>45611</c:v>
                </c:pt>
                <c:pt idx="246">
                  <c:v>45614</c:v>
                </c:pt>
                <c:pt idx="247">
                  <c:v>45615</c:v>
                </c:pt>
                <c:pt idx="248">
                  <c:v>45616</c:v>
                </c:pt>
                <c:pt idx="249">
                  <c:v>45617</c:v>
                </c:pt>
                <c:pt idx="250">
                  <c:v>45618</c:v>
                </c:pt>
                <c:pt idx="251">
                  <c:v>45621</c:v>
                </c:pt>
                <c:pt idx="252">
                  <c:v>45622</c:v>
                </c:pt>
              </c:numCache>
            </c:numRef>
          </c:cat>
          <c:val>
            <c:numRef>
              <c:f>Sheet1!$C$2:$C$254</c:f>
              <c:numCache>
                <c:formatCode>0.00\%</c:formatCode>
                <c:ptCount val="253"/>
                <c:pt idx="0">
                  <c:v>0</c:v>
                </c:pt>
                <c:pt idx="1">
                  <c:v>-0.5</c:v>
                </c:pt>
                <c:pt idx="2">
                  <c:v>-0.48</c:v>
                </c:pt>
                <c:pt idx="3">
                  <c:v>0.76</c:v>
                </c:pt>
                <c:pt idx="4">
                  <c:v>1.1200000000000001</c:v>
                </c:pt>
                <c:pt idx="5">
                  <c:v>1.33</c:v>
                </c:pt>
                <c:pt idx="6">
                  <c:v>1.1599999999999999</c:v>
                </c:pt>
                <c:pt idx="7">
                  <c:v>1.23</c:v>
                </c:pt>
                <c:pt idx="8">
                  <c:v>1.1499999999999999</c:v>
                </c:pt>
                <c:pt idx="9">
                  <c:v>1.33</c:v>
                </c:pt>
                <c:pt idx="10">
                  <c:v>1.95</c:v>
                </c:pt>
                <c:pt idx="11">
                  <c:v>2.42</c:v>
                </c:pt>
                <c:pt idx="12">
                  <c:v>4.29</c:v>
                </c:pt>
                <c:pt idx="13">
                  <c:v>3.72</c:v>
                </c:pt>
                <c:pt idx="14">
                  <c:v>2.84</c:v>
                </c:pt>
                <c:pt idx="15">
                  <c:v>3.03</c:v>
                </c:pt>
                <c:pt idx="16">
                  <c:v>3.72</c:v>
                </c:pt>
                <c:pt idx="17">
                  <c:v>2.21</c:v>
                </c:pt>
                <c:pt idx="18">
                  <c:v>3.44</c:v>
                </c:pt>
                <c:pt idx="19">
                  <c:v>3.94</c:v>
                </c:pt>
                <c:pt idx="20">
                  <c:v>4.17</c:v>
                </c:pt>
                <c:pt idx="21">
                  <c:v>4.6500000000000004</c:v>
                </c:pt>
                <c:pt idx="22">
                  <c:v>4.9000000000000004</c:v>
                </c:pt>
                <c:pt idx="23">
                  <c:v>4.9400000000000004</c:v>
                </c:pt>
                <c:pt idx="24">
                  <c:v>6.79</c:v>
                </c:pt>
                <c:pt idx="25">
                  <c:v>6.64</c:v>
                </c:pt>
                <c:pt idx="26">
                  <c:v>7.14</c:v>
                </c:pt>
                <c:pt idx="27">
                  <c:v>7.11</c:v>
                </c:pt>
                <c:pt idx="28">
                  <c:v>8.01</c:v>
                </c:pt>
                <c:pt idx="29">
                  <c:v>8.06</c:v>
                </c:pt>
                <c:pt idx="30">
                  <c:v>8.5</c:v>
                </c:pt>
                <c:pt idx="31">
                  <c:v>8.3800000000000008</c:v>
                </c:pt>
                <c:pt idx="32">
                  <c:v>8.06</c:v>
                </c:pt>
                <c:pt idx="33">
                  <c:v>7.47</c:v>
                </c:pt>
                <c:pt idx="34">
                  <c:v>7.21</c:v>
                </c:pt>
                <c:pt idx="35">
                  <c:v>7.22</c:v>
                </c:pt>
                <c:pt idx="36">
                  <c:v>7.29</c:v>
                </c:pt>
                <c:pt idx="37">
                  <c:v>7.69</c:v>
                </c:pt>
                <c:pt idx="38">
                  <c:v>7.64</c:v>
                </c:pt>
                <c:pt idx="39">
                  <c:v>6.66</c:v>
                </c:pt>
                <c:pt idx="40">
                  <c:v>6.42</c:v>
                </c:pt>
                <c:pt idx="41">
                  <c:v>7.04</c:v>
                </c:pt>
                <c:pt idx="42">
                  <c:v>7.77</c:v>
                </c:pt>
                <c:pt idx="43">
                  <c:v>8.0399999999999991</c:v>
                </c:pt>
                <c:pt idx="44">
                  <c:v>7.92</c:v>
                </c:pt>
                <c:pt idx="45">
                  <c:v>9.2899999999999991</c:v>
                </c:pt>
                <c:pt idx="46">
                  <c:v>9.16</c:v>
                </c:pt>
                <c:pt idx="47">
                  <c:v>9.5</c:v>
                </c:pt>
                <c:pt idx="48">
                  <c:v>10.68</c:v>
                </c:pt>
                <c:pt idx="49">
                  <c:v>10.97</c:v>
                </c:pt>
                <c:pt idx="50">
                  <c:v>10.78</c:v>
                </c:pt>
                <c:pt idx="51">
                  <c:v>10.72</c:v>
                </c:pt>
                <c:pt idx="52">
                  <c:v>10.83</c:v>
                </c:pt>
                <c:pt idx="53">
                  <c:v>9.86</c:v>
                </c:pt>
                <c:pt idx="54">
                  <c:v>10.75</c:v>
                </c:pt>
                <c:pt idx="55">
                  <c:v>11.53</c:v>
                </c:pt>
                <c:pt idx="56">
                  <c:v>11.85</c:v>
                </c:pt>
                <c:pt idx="57">
                  <c:v>11.4</c:v>
                </c:pt>
                <c:pt idx="58">
                  <c:v>11.69</c:v>
                </c:pt>
                <c:pt idx="59">
                  <c:v>13.04</c:v>
                </c:pt>
                <c:pt idx="60">
                  <c:v>13.54</c:v>
                </c:pt>
                <c:pt idx="61">
                  <c:v>12.97</c:v>
                </c:pt>
                <c:pt idx="62">
                  <c:v>12.66</c:v>
                </c:pt>
                <c:pt idx="63">
                  <c:v>12.09</c:v>
                </c:pt>
                <c:pt idx="64">
                  <c:v>11.27</c:v>
                </c:pt>
                <c:pt idx="65">
                  <c:v>12.35</c:v>
                </c:pt>
                <c:pt idx="66">
                  <c:v>12.21</c:v>
                </c:pt>
                <c:pt idx="67">
                  <c:v>11.31</c:v>
                </c:pt>
                <c:pt idx="68">
                  <c:v>12.1</c:v>
                </c:pt>
                <c:pt idx="69">
                  <c:v>12.65</c:v>
                </c:pt>
                <c:pt idx="70">
                  <c:v>12.39</c:v>
                </c:pt>
                <c:pt idx="71">
                  <c:v>12.33</c:v>
                </c:pt>
                <c:pt idx="72">
                  <c:v>12.87</c:v>
                </c:pt>
                <c:pt idx="73">
                  <c:v>12.41</c:v>
                </c:pt>
                <c:pt idx="74">
                  <c:v>11.93</c:v>
                </c:pt>
                <c:pt idx="75">
                  <c:v>11.53</c:v>
                </c:pt>
                <c:pt idx="76">
                  <c:v>11.51</c:v>
                </c:pt>
                <c:pt idx="77">
                  <c:v>12.25</c:v>
                </c:pt>
                <c:pt idx="78">
                  <c:v>11.99</c:v>
                </c:pt>
                <c:pt idx="79">
                  <c:v>12.12</c:v>
                </c:pt>
                <c:pt idx="80">
                  <c:v>11.96</c:v>
                </c:pt>
                <c:pt idx="81">
                  <c:v>11.78</c:v>
                </c:pt>
                <c:pt idx="82">
                  <c:v>12.16</c:v>
                </c:pt>
                <c:pt idx="83">
                  <c:v>13.63</c:v>
                </c:pt>
                <c:pt idx="84">
                  <c:v>13.75</c:v>
                </c:pt>
                <c:pt idx="85">
                  <c:v>12.75</c:v>
                </c:pt>
                <c:pt idx="86">
                  <c:v>10.93</c:v>
                </c:pt>
                <c:pt idx="87">
                  <c:v>10.82</c:v>
                </c:pt>
                <c:pt idx="88">
                  <c:v>9.26</c:v>
                </c:pt>
                <c:pt idx="89">
                  <c:v>10.26</c:v>
                </c:pt>
                <c:pt idx="90">
                  <c:v>9.84</c:v>
                </c:pt>
                <c:pt idx="91">
                  <c:v>10.26</c:v>
                </c:pt>
                <c:pt idx="92">
                  <c:v>9</c:v>
                </c:pt>
                <c:pt idx="93">
                  <c:v>8.4600000000000009</c:v>
                </c:pt>
                <c:pt idx="94">
                  <c:v>6.82</c:v>
                </c:pt>
                <c:pt idx="95">
                  <c:v>6.61</c:v>
                </c:pt>
                <c:pt idx="96">
                  <c:v>6.64</c:v>
                </c:pt>
                <c:pt idx="97">
                  <c:v>6.45</c:v>
                </c:pt>
                <c:pt idx="98">
                  <c:v>6.47</c:v>
                </c:pt>
                <c:pt idx="99">
                  <c:v>6.81</c:v>
                </c:pt>
                <c:pt idx="100">
                  <c:v>7.23</c:v>
                </c:pt>
                <c:pt idx="101">
                  <c:v>8.56</c:v>
                </c:pt>
                <c:pt idx="102">
                  <c:v>8.2899999999999991</c:v>
                </c:pt>
                <c:pt idx="103">
                  <c:v>7.62</c:v>
                </c:pt>
                <c:pt idx="104">
                  <c:v>7.61</c:v>
                </c:pt>
                <c:pt idx="105">
                  <c:v>7.97</c:v>
                </c:pt>
                <c:pt idx="106">
                  <c:v>7.84</c:v>
                </c:pt>
                <c:pt idx="107">
                  <c:v>8.1199999999999992</c:v>
                </c:pt>
                <c:pt idx="108">
                  <c:v>8</c:v>
                </c:pt>
                <c:pt idx="109">
                  <c:v>8.24</c:v>
                </c:pt>
                <c:pt idx="110">
                  <c:v>8.7200000000000006</c:v>
                </c:pt>
                <c:pt idx="111">
                  <c:v>9.6</c:v>
                </c:pt>
                <c:pt idx="112">
                  <c:v>9.23</c:v>
                </c:pt>
                <c:pt idx="113">
                  <c:v>10.1</c:v>
                </c:pt>
                <c:pt idx="114">
                  <c:v>10.34</c:v>
                </c:pt>
                <c:pt idx="115">
                  <c:v>10.23</c:v>
                </c:pt>
                <c:pt idx="116">
                  <c:v>10.71</c:v>
                </c:pt>
                <c:pt idx="117">
                  <c:v>12.31</c:v>
                </c:pt>
                <c:pt idx="118">
                  <c:v>12.19</c:v>
                </c:pt>
                <c:pt idx="119">
                  <c:v>12.37</c:v>
                </c:pt>
                <c:pt idx="120">
                  <c:v>12.04</c:v>
                </c:pt>
                <c:pt idx="121">
                  <c:v>12.24</c:v>
                </c:pt>
                <c:pt idx="122">
                  <c:v>12.46</c:v>
                </c:pt>
                <c:pt idx="123">
                  <c:v>11.25</c:v>
                </c:pt>
                <c:pt idx="124">
                  <c:v>10.9</c:v>
                </c:pt>
                <c:pt idx="125">
                  <c:v>9.51</c:v>
                </c:pt>
                <c:pt idx="126">
                  <c:v>8.64</c:v>
                </c:pt>
                <c:pt idx="127">
                  <c:v>8.7200000000000006</c:v>
                </c:pt>
                <c:pt idx="128">
                  <c:v>10.25</c:v>
                </c:pt>
                <c:pt idx="129">
                  <c:v>11.06</c:v>
                </c:pt>
                <c:pt idx="130">
                  <c:v>11.43</c:v>
                </c:pt>
                <c:pt idx="131">
                  <c:v>11.91</c:v>
                </c:pt>
                <c:pt idx="132">
                  <c:v>12.28</c:v>
                </c:pt>
                <c:pt idx="133">
                  <c:v>12.4</c:v>
                </c:pt>
                <c:pt idx="134">
                  <c:v>12.73</c:v>
                </c:pt>
                <c:pt idx="135">
                  <c:v>12.34</c:v>
                </c:pt>
                <c:pt idx="136">
                  <c:v>12.12</c:v>
                </c:pt>
                <c:pt idx="137">
                  <c:v>12.07</c:v>
                </c:pt>
                <c:pt idx="138">
                  <c:v>11.95</c:v>
                </c:pt>
                <c:pt idx="139">
                  <c:v>11.72</c:v>
                </c:pt>
                <c:pt idx="140">
                  <c:v>11.85</c:v>
                </c:pt>
                <c:pt idx="141">
                  <c:v>12.26</c:v>
                </c:pt>
                <c:pt idx="142">
                  <c:v>12.6</c:v>
                </c:pt>
                <c:pt idx="143">
                  <c:v>13.22</c:v>
                </c:pt>
                <c:pt idx="144">
                  <c:v>12.87</c:v>
                </c:pt>
                <c:pt idx="145">
                  <c:v>12.47</c:v>
                </c:pt>
                <c:pt idx="146">
                  <c:v>12.28</c:v>
                </c:pt>
                <c:pt idx="147">
                  <c:v>12.19</c:v>
                </c:pt>
                <c:pt idx="148">
                  <c:v>11.56</c:v>
                </c:pt>
                <c:pt idx="149">
                  <c:v>11.12</c:v>
                </c:pt>
                <c:pt idx="150">
                  <c:v>10.31</c:v>
                </c:pt>
                <c:pt idx="151">
                  <c:v>11.12</c:v>
                </c:pt>
                <c:pt idx="152">
                  <c:v>11.01</c:v>
                </c:pt>
                <c:pt idx="153">
                  <c:v>11.49</c:v>
                </c:pt>
                <c:pt idx="154">
                  <c:v>12.58</c:v>
                </c:pt>
                <c:pt idx="155">
                  <c:v>13.39</c:v>
                </c:pt>
                <c:pt idx="156">
                  <c:v>14.05</c:v>
                </c:pt>
                <c:pt idx="157">
                  <c:v>13.56</c:v>
                </c:pt>
                <c:pt idx="158">
                  <c:v>15.21</c:v>
                </c:pt>
                <c:pt idx="159">
                  <c:v>15.76</c:v>
                </c:pt>
                <c:pt idx="160">
                  <c:v>13.11</c:v>
                </c:pt>
                <c:pt idx="161">
                  <c:v>13.67</c:v>
                </c:pt>
                <c:pt idx="162">
                  <c:v>14.32</c:v>
                </c:pt>
                <c:pt idx="163">
                  <c:v>14.28</c:v>
                </c:pt>
                <c:pt idx="164">
                  <c:v>15.21</c:v>
                </c:pt>
                <c:pt idx="165">
                  <c:v>14.55</c:v>
                </c:pt>
                <c:pt idx="166">
                  <c:v>15.2</c:v>
                </c:pt>
                <c:pt idx="167">
                  <c:v>15.31</c:v>
                </c:pt>
                <c:pt idx="168">
                  <c:v>15.43</c:v>
                </c:pt>
                <c:pt idx="169">
                  <c:v>14.99</c:v>
                </c:pt>
                <c:pt idx="170">
                  <c:v>16.2</c:v>
                </c:pt>
                <c:pt idx="171">
                  <c:v>15.96</c:v>
                </c:pt>
                <c:pt idx="172">
                  <c:v>12.83</c:v>
                </c:pt>
                <c:pt idx="173">
                  <c:v>13.38</c:v>
                </c:pt>
                <c:pt idx="174">
                  <c:v>12.17</c:v>
                </c:pt>
                <c:pt idx="175">
                  <c:v>14.71</c:v>
                </c:pt>
                <c:pt idx="176">
                  <c:v>15.23</c:v>
                </c:pt>
                <c:pt idx="177">
                  <c:v>14.78</c:v>
                </c:pt>
                <c:pt idx="178">
                  <c:v>16.190000000000001</c:v>
                </c:pt>
                <c:pt idx="179">
                  <c:v>16.71</c:v>
                </c:pt>
                <c:pt idx="180">
                  <c:v>17.41</c:v>
                </c:pt>
                <c:pt idx="181">
                  <c:v>17.45</c:v>
                </c:pt>
                <c:pt idx="182">
                  <c:v>18.18</c:v>
                </c:pt>
                <c:pt idx="183">
                  <c:v>18.62</c:v>
                </c:pt>
                <c:pt idx="184">
                  <c:v>18.89</c:v>
                </c:pt>
                <c:pt idx="185">
                  <c:v>18.86</c:v>
                </c:pt>
                <c:pt idx="186">
                  <c:v>19.48</c:v>
                </c:pt>
                <c:pt idx="187">
                  <c:v>19.34</c:v>
                </c:pt>
                <c:pt idx="188">
                  <c:v>19.46</c:v>
                </c:pt>
                <c:pt idx="189">
                  <c:v>19.600000000000001</c:v>
                </c:pt>
                <c:pt idx="190">
                  <c:v>19.86</c:v>
                </c:pt>
                <c:pt idx="191">
                  <c:v>20.73</c:v>
                </c:pt>
                <c:pt idx="192">
                  <c:v>20.47</c:v>
                </c:pt>
                <c:pt idx="193">
                  <c:v>20.3</c:v>
                </c:pt>
                <c:pt idx="194">
                  <c:v>18.63</c:v>
                </c:pt>
                <c:pt idx="195">
                  <c:v>18.149999999999999</c:v>
                </c:pt>
                <c:pt idx="196">
                  <c:v>19.02</c:v>
                </c:pt>
                <c:pt idx="197">
                  <c:v>19.55</c:v>
                </c:pt>
                <c:pt idx="198">
                  <c:v>19.260000000000002</c:v>
                </c:pt>
                <c:pt idx="199">
                  <c:v>19.63</c:v>
                </c:pt>
                <c:pt idx="200">
                  <c:v>19.86</c:v>
                </c:pt>
                <c:pt idx="201">
                  <c:v>20.57</c:v>
                </c:pt>
                <c:pt idx="202">
                  <c:v>19.34</c:v>
                </c:pt>
                <c:pt idx="203">
                  <c:v>19.149999999999999</c:v>
                </c:pt>
                <c:pt idx="204">
                  <c:v>19.559999999999999</c:v>
                </c:pt>
                <c:pt idx="205">
                  <c:v>19.16</c:v>
                </c:pt>
                <c:pt idx="206">
                  <c:v>18.86</c:v>
                </c:pt>
                <c:pt idx="207">
                  <c:v>18.600000000000001</c:v>
                </c:pt>
                <c:pt idx="208">
                  <c:v>17.48</c:v>
                </c:pt>
                <c:pt idx="209">
                  <c:v>17.86</c:v>
                </c:pt>
                <c:pt idx="210">
                  <c:v>17.82</c:v>
                </c:pt>
                <c:pt idx="211">
                  <c:v>18.54</c:v>
                </c:pt>
                <c:pt idx="212">
                  <c:v>17.940000000000001</c:v>
                </c:pt>
                <c:pt idx="213">
                  <c:v>17.7</c:v>
                </c:pt>
                <c:pt idx="214">
                  <c:v>16.63</c:v>
                </c:pt>
                <c:pt idx="215">
                  <c:v>16.73</c:v>
                </c:pt>
                <c:pt idx="216">
                  <c:v>16.16</c:v>
                </c:pt>
                <c:pt idx="217">
                  <c:v>16.79</c:v>
                </c:pt>
                <c:pt idx="218">
                  <c:v>17.98</c:v>
                </c:pt>
                <c:pt idx="219">
                  <c:v>17.57</c:v>
                </c:pt>
                <c:pt idx="220">
                  <c:v>18.43</c:v>
                </c:pt>
                <c:pt idx="221">
                  <c:v>19.04</c:v>
                </c:pt>
                <c:pt idx="222">
                  <c:v>17.559999999999999</c:v>
                </c:pt>
                <c:pt idx="223">
                  <c:v>17.88</c:v>
                </c:pt>
                <c:pt idx="224">
                  <c:v>17.190000000000001</c:v>
                </c:pt>
                <c:pt idx="225">
                  <c:v>17.760000000000002</c:v>
                </c:pt>
                <c:pt idx="226">
                  <c:v>16.36</c:v>
                </c:pt>
                <c:pt idx="227">
                  <c:v>16.18</c:v>
                </c:pt>
                <c:pt idx="228">
                  <c:v>15.64</c:v>
                </c:pt>
                <c:pt idx="229">
                  <c:v>14.86</c:v>
                </c:pt>
                <c:pt idx="230">
                  <c:v>14.25</c:v>
                </c:pt>
                <c:pt idx="231">
                  <c:v>14.4</c:v>
                </c:pt>
                <c:pt idx="232">
                  <c:v>14.07</c:v>
                </c:pt>
                <c:pt idx="233">
                  <c:v>13.85</c:v>
                </c:pt>
                <c:pt idx="234">
                  <c:v>12.93</c:v>
                </c:pt>
                <c:pt idx="235">
                  <c:v>13.6</c:v>
                </c:pt>
                <c:pt idx="236">
                  <c:v>12.82</c:v>
                </c:pt>
                <c:pt idx="237">
                  <c:v>13.67</c:v>
                </c:pt>
                <c:pt idx="238">
                  <c:v>13.84</c:v>
                </c:pt>
                <c:pt idx="239">
                  <c:v>14.58</c:v>
                </c:pt>
                <c:pt idx="240">
                  <c:v>15.38</c:v>
                </c:pt>
                <c:pt idx="241">
                  <c:v>14.7</c:v>
                </c:pt>
                <c:pt idx="242">
                  <c:v>13.16</c:v>
                </c:pt>
                <c:pt idx="243">
                  <c:v>12.82</c:v>
                </c:pt>
                <c:pt idx="244">
                  <c:v>11.08</c:v>
                </c:pt>
                <c:pt idx="245">
                  <c:v>8.99</c:v>
                </c:pt>
                <c:pt idx="246">
                  <c:v>8.99</c:v>
                </c:pt>
                <c:pt idx="247">
                  <c:v>8.4700000000000006</c:v>
                </c:pt>
                <c:pt idx="248">
                  <c:v>9.75</c:v>
                </c:pt>
                <c:pt idx="249">
                  <c:v>10.67</c:v>
                </c:pt>
                <c:pt idx="250">
                  <c:v>10.76</c:v>
                </c:pt>
                <c:pt idx="251">
                  <c:v>11.75</c:v>
                </c:pt>
                <c:pt idx="252">
                  <c:v>12.25</c:v>
                </c:pt>
              </c:numCache>
            </c:numRef>
          </c:val>
          <c:smooth val="0"/>
          <c:extLst>
            <c:ext xmlns:c16="http://schemas.microsoft.com/office/drawing/2014/chart" uri="{C3380CC4-5D6E-409C-BE32-E72D297353CC}">
              <c16:uniqueId val="{00000001-9B5C-4644-BCD6-E305F46A95FB}"/>
            </c:ext>
          </c:extLst>
        </c:ser>
        <c:dLbls>
          <c:showLegendKey val="0"/>
          <c:showVal val="0"/>
          <c:showCatName val="0"/>
          <c:showSerName val="0"/>
          <c:showPercent val="0"/>
          <c:showBubbleSize val="0"/>
        </c:dLbls>
        <c:smooth val="0"/>
        <c:axId val="1868772144"/>
        <c:axId val="1868771184"/>
      </c:lineChart>
      <c:dateAx>
        <c:axId val="1868772144"/>
        <c:scaling>
          <c:orientation val="minMax"/>
        </c:scaling>
        <c:delete val="0"/>
        <c:axPos val="b"/>
        <c:numFmt formatCode="[$-409]mmm/yyyy;@" sourceLinked="0"/>
        <c:majorTickMark val="out"/>
        <c:minorTickMark val="none"/>
        <c:tickLblPos val="low"/>
        <c:spPr>
          <a:noFill/>
          <a:ln w="9525" cap="flat" cmpd="sng" algn="ctr">
            <a:solidFill>
              <a:schemeClr val="accent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868771184"/>
        <c:crosses val="autoZero"/>
        <c:auto val="1"/>
        <c:lblOffset val="100"/>
        <c:baseTimeUnit val="days"/>
        <c:majorUnit val="3"/>
        <c:majorTimeUnit val="months"/>
      </c:dateAx>
      <c:valAx>
        <c:axId val="1868771184"/>
        <c:scaling>
          <c:orientation val="minMax"/>
        </c:scaling>
        <c:delete val="0"/>
        <c:axPos val="l"/>
        <c:numFmt formatCode="0.00\%"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868772144"/>
        <c:crosses val="autoZero"/>
        <c:crossBetween val="between"/>
      </c:valAx>
      <c:spPr>
        <a:noFill/>
        <a:ln>
          <a:noFill/>
        </a:ln>
        <a:effectLst/>
      </c:spPr>
    </c:plotArea>
    <c:legend>
      <c:legendPos val="t"/>
      <c:layout>
        <c:manualLayout>
          <c:xMode val="edge"/>
          <c:yMode val="edge"/>
          <c:x val="0.19908687417287912"/>
          <c:y val="0.13468265311543953"/>
          <c:w val="0.60182605623288599"/>
          <c:h val="6.828410724730019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oportion of U.S population, aged 65 or older</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1970</c:v>
                </c:pt>
                <c:pt idx="1">
                  <c:v>1980</c:v>
                </c:pt>
                <c:pt idx="2">
                  <c:v>1990</c:v>
                </c:pt>
                <c:pt idx="3">
                  <c:v>2000</c:v>
                </c:pt>
                <c:pt idx="4">
                  <c:v>2010</c:v>
                </c:pt>
                <c:pt idx="5">
                  <c:v>2020</c:v>
                </c:pt>
                <c:pt idx="6">
                  <c:v>2030</c:v>
                </c:pt>
              </c:numCache>
            </c:numRef>
          </c:cat>
          <c:val>
            <c:numRef>
              <c:f>Sheet1!$B$2:$B$8</c:f>
              <c:numCache>
                <c:formatCode>0.00%</c:formatCode>
                <c:ptCount val="7"/>
                <c:pt idx="0">
                  <c:v>9.9000000000000005E-2</c:v>
                </c:pt>
                <c:pt idx="1">
                  <c:v>0.112</c:v>
                </c:pt>
                <c:pt idx="2">
                  <c:v>0.125</c:v>
                </c:pt>
                <c:pt idx="3">
                  <c:v>0.124</c:v>
                </c:pt>
                <c:pt idx="4">
                  <c:v>0.13</c:v>
                </c:pt>
                <c:pt idx="5">
                  <c:v>0.16300000000000001</c:v>
                </c:pt>
                <c:pt idx="6">
                  <c:v>0.2</c:v>
                </c:pt>
              </c:numCache>
            </c:numRef>
          </c:val>
          <c:smooth val="0"/>
          <c:extLst>
            <c:ext xmlns:c16="http://schemas.microsoft.com/office/drawing/2014/chart" uri="{C3380CC4-5D6E-409C-BE32-E72D297353CC}">
              <c16:uniqueId val="{00000000-77F3-4D72-ABFA-3F3B463CC793}"/>
            </c:ext>
          </c:extLst>
        </c:ser>
        <c:dLbls>
          <c:showLegendKey val="0"/>
          <c:showVal val="0"/>
          <c:showCatName val="0"/>
          <c:showSerName val="0"/>
          <c:showPercent val="0"/>
          <c:showBubbleSize val="0"/>
        </c:dLbls>
        <c:marker val="1"/>
        <c:smooth val="0"/>
        <c:axId val="428829951"/>
        <c:axId val="428822751"/>
      </c:lineChart>
      <c:catAx>
        <c:axId val="428829951"/>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28822751"/>
        <c:crosses val="autoZero"/>
        <c:auto val="1"/>
        <c:lblAlgn val="ctr"/>
        <c:lblOffset val="100"/>
        <c:noMultiLvlLbl val="0"/>
      </c:catAx>
      <c:valAx>
        <c:axId val="428822751"/>
        <c:scaling>
          <c:orientation val="minMax"/>
        </c:scaling>
        <c:delete val="0"/>
        <c:axPos val="l"/>
        <c:numFmt formatCode="0.00%"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28829951"/>
        <c:crosses val="autoZero"/>
        <c:crossBetween val="between"/>
      </c:valAx>
      <c:spPr>
        <a:noFill/>
        <a:ln>
          <a:noFill/>
        </a:ln>
        <a:effectLst/>
      </c:spPr>
    </c:plotArea>
    <c:legend>
      <c:legendPos val="t"/>
      <c:layout>
        <c:manualLayout>
          <c:xMode val="edge"/>
          <c:yMode val="edge"/>
          <c:x val="0.11804925795332838"/>
          <c:y val="0.11661807580174927"/>
          <c:w val="0.76390124265172432"/>
          <c:h val="8.30228227817127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DU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00</c:formatCode>
                <c:ptCount val="1"/>
                <c:pt idx="0">
                  <c:v>-173.09</c:v>
                </c:pt>
              </c:numCache>
            </c:numRef>
          </c:val>
          <c:extLst>
            <c:ext xmlns:c16="http://schemas.microsoft.com/office/drawing/2014/chart" uri="{C3380CC4-5D6E-409C-BE32-E72D297353CC}">
              <c16:uniqueId val="{00000000-6272-4FED-8595-7B98143FE7BE}"/>
            </c:ext>
          </c:extLst>
        </c:ser>
        <c:ser>
          <c:idx val="1"/>
          <c:order val="1"/>
          <c:tx>
            <c:strRef>
              <c:f>Sheet1!$C$1</c:f>
              <c:strCache>
                <c:ptCount val="1"/>
                <c:pt idx="0">
                  <c:v>AM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00</c:formatCode>
                <c:ptCount val="1"/>
                <c:pt idx="0">
                  <c:v>222.22</c:v>
                </c:pt>
              </c:numCache>
            </c:numRef>
          </c:val>
          <c:extLst>
            <c:ext xmlns:c16="http://schemas.microsoft.com/office/drawing/2014/chart" uri="{C3380CC4-5D6E-409C-BE32-E72D297353CC}">
              <c16:uniqueId val="{00000000-A591-4000-A3CC-C7E238ACA46C}"/>
            </c:ext>
          </c:extLst>
        </c:ser>
        <c:ser>
          <c:idx val="2"/>
          <c:order val="2"/>
          <c:tx>
            <c:strRef>
              <c:f>Sheet1!$D$1</c:f>
              <c:strCache>
                <c:ptCount val="1"/>
                <c:pt idx="0">
                  <c:v>CH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00</c:formatCode>
                <c:ptCount val="1"/>
                <c:pt idx="0">
                  <c:v>-90.55</c:v>
                </c:pt>
              </c:numCache>
            </c:numRef>
          </c:val>
          <c:extLst>
            <c:ext xmlns:c16="http://schemas.microsoft.com/office/drawing/2014/chart" uri="{C3380CC4-5D6E-409C-BE32-E72D297353CC}">
              <c16:uniqueId val="{00000001-A591-4000-A3CC-C7E238ACA46C}"/>
            </c:ext>
          </c:extLst>
        </c:ser>
        <c:ser>
          <c:idx val="3"/>
          <c:order val="3"/>
          <c:tx>
            <c:strRef>
              <c:f>Sheet1!$E$1</c:f>
              <c:strCache>
                <c:ptCount val="1"/>
                <c:pt idx="0">
                  <c:v>OPCH</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00</c:formatCode>
                <c:ptCount val="1"/>
                <c:pt idx="0">
                  <c:v>731.26</c:v>
                </c:pt>
              </c:numCache>
            </c:numRef>
          </c:val>
          <c:extLst>
            <c:ext xmlns:c16="http://schemas.microsoft.com/office/drawing/2014/chart" uri="{C3380CC4-5D6E-409C-BE32-E72D297353CC}">
              <c16:uniqueId val="{00000002-A591-4000-A3CC-C7E238ACA46C}"/>
            </c:ext>
          </c:extLst>
        </c:ser>
        <c:ser>
          <c:idx val="4"/>
          <c:order val="4"/>
          <c:tx>
            <c:strRef>
              <c:f>Sheet1!$F$1</c:f>
              <c:strCache>
                <c:ptCount val="1"/>
                <c:pt idx="0">
                  <c:v>EHAB</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00</c:formatCode>
                <c:ptCount val="1"/>
                <c:pt idx="0">
                  <c:v>536.4</c:v>
                </c:pt>
              </c:numCache>
            </c:numRef>
          </c:val>
          <c:extLst>
            <c:ext xmlns:c16="http://schemas.microsoft.com/office/drawing/2014/chart" uri="{C3380CC4-5D6E-409C-BE32-E72D297353CC}">
              <c16:uniqueId val="{00000003-A591-4000-A3CC-C7E238ACA46C}"/>
            </c:ext>
          </c:extLst>
        </c:ser>
        <c:dLbls>
          <c:dLblPos val="outEnd"/>
          <c:showLegendKey val="0"/>
          <c:showVal val="1"/>
          <c:showCatName val="0"/>
          <c:showSerName val="0"/>
          <c:showPercent val="0"/>
          <c:showBubbleSize val="0"/>
        </c:dLbls>
        <c:gapWidth val="123"/>
        <c:overlap val="-27"/>
        <c:axId val="391300464"/>
        <c:axId val="391300944"/>
      </c:barChart>
      <c:catAx>
        <c:axId val="391300464"/>
        <c:scaling>
          <c:orientation val="minMax"/>
        </c:scaling>
        <c:delete val="0"/>
        <c:axPos val="b"/>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1300944"/>
        <c:crosses val="autoZero"/>
        <c:auto val="1"/>
        <c:lblAlgn val="ctr"/>
        <c:lblOffset val="100"/>
        <c:noMultiLvlLbl val="0"/>
      </c:catAx>
      <c:valAx>
        <c:axId val="391300944"/>
        <c:scaling>
          <c:orientation val="minMax"/>
        </c:scaling>
        <c:delete val="0"/>
        <c:axPos val="l"/>
        <c:majorGridlines>
          <c:spPr>
            <a:ln w="9525" cap="flat" cmpd="sng" algn="ctr">
              <a:noFill/>
              <a:round/>
            </a:ln>
            <a:effectLst/>
          </c:spPr>
        </c:majorGridlines>
        <c:numFmt formatCode="&quot;$&quot;#,##0.00" sourceLinked="0"/>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1300464"/>
        <c:crosses val="autoZero"/>
        <c:crossBetween val="between"/>
      </c:valAx>
      <c:spPr>
        <a:noFill/>
        <a:ln>
          <a:noFill/>
        </a:ln>
        <a:effectLst/>
      </c:spPr>
    </c:plotArea>
    <c:legend>
      <c:legendPos val="b"/>
      <c:layout>
        <c:manualLayout>
          <c:xMode val="edge"/>
          <c:yMode val="edge"/>
          <c:x val="0.13676701946116027"/>
          <c:y val="0.87201441656527612"/>
          <c:w val="0.79392450796612468"/>
          <c:h val="9.300016069419893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9</c:v>
                </c:pt>
                <c:pt idx="1">
                  <c:v>2020</c:v>
                </c:pt>
                <c:pt idx="2">
                  <c:v>2021</c:v>
                </c:pt>
                <c:pt idx="3">
                  <c:v>2022</c:v>
                </c:pt>
                <c:pt idx="4">
                  <c:v>2023</c:v>
                </c:pt>
              </c:numCache>
            </c:numRef>
          </c:cat>
          <c:val>
            <c:numRef>
              <c:f>Sheet1!$B$2:$B$6</c:f>
              <c:numCache>
                <c:formatCode>General</c:formatCode>
                <c:ptCount val="5"/>
                <c:pt idx="0">
                  <c:v>3</c:v>
                </c:pt>
                <c:pt idx="1">
                  <c:v>4</c:v>
                </c:pt>
                <c:pt idx="2">
                  <c:v>2</c:v>
                </c:pt>
                <c:pt idx="3">
                  <c:v>2</c:v>
                </c:pt>
                <c:pt idx="4">
                  <c:v>2</c:v>
                </c:pt>
              </c:numCache>
            </c:numRef>
          </c:val>
          <c:extLst>
            <c:ext xmlns:c16="http://schemas.microsoft.com/office/drawing/2014/chart" uri="{C3380CC4-5D6E-409C-BE32-E72D297353CC}">
              <c16:uniqueId val="{00000000-75FC-49D2-8564-16E0D3CB6458}"/>
            </c:ext>
          </c:extLst>
        </c:ser>
        <c:dLbls>
          <c:dLblPos val="outEnd"/>
          <c:showLegendKey val="0"/>
          <c:showVal val="1"/>
          <c:showCatName val="0"/>
          <c:showSerName val="0"/>
          <c:showPercent val="0"/>
          <c:showBubbleSize val="0"/>
        </c:dLbls>
        <c:gapWidth val="219"/>
        <c:overlap val="-27"/>
        <c:axId val="412330287"/>
        <c:axId val="412328367"/>
      </c:barChart>
      <c:catAx>
        <c:axId val="412330287"/>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12328367"/>
        <c:crosses val="autoZero"/>
        <c:auto val="1"/>
        <c:lblAlgn val="ctr"/>
        <c:lblOffset val="100"/>
        <c:noMultiLvlLbl val="0"/>
      </c:catAx>
      <c:valAx>
        <c:axId val="412328367"/>
        <c:scaling>
          <c:orientation val="minMax"/>
        </c:scaling>
        <c:delete val="0"/>
        <c:axPos val="l"/>
        <c:numFmt formatCode="General"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12330287"/>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5"/>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3-EA00-4014-97DA-00199FCDE737}"/>
              </c:ext>
            </c:extLst>
          </c:dPt>
          <c:dPt>
            <c:idx val="6"/>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4-EA00-4014-97DA-00199FCDE737}"/>
              </c:ext>
            </c:extLst>
          </c:dPt>
          <c:dPt>
            <c:idx val="7"/>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5-EA00-4014-97DA-00199FCDE737}"/>
              </c:ext>
            </c:extLst>
          </c:dPt>
          <c:dPt>
            <c:idx val="8"/>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6-EA00-4014-97DA-00199FCDE737}"/>
              </c:ext>
            </c:extLst>
          </c:dPt>
          <c:dPt>
            <c:idx val="9"/>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7-EA00-4014-97DA-00199FCDE737}"/>
              </c:ext>
            </c:extLst>
          </c:dPt>
          <c:dPt>
            <c:idx val="10"/>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8-EA00-4014-97DA-00199FCDE737}"/>
              </c:ext>
            </c:extLst>
          </c:dPt>
          <c:cat>
            <c:strRef>
              <c:f>Sheet1!$A$2:$A$12</c:f>
              <c:strCache>
                <c:ptCount val="11"/>
                <c:pt idx="0">
                  <c:v>2019</c:v>
                </c:pt>
                <c:pt idx="1">
                  <c:v>2020</c:v>
                </c:pt>
                <c:pt idx="2">
                  <c:v>2021</c:v>
                </c:pt>
                <c:pt idx="3">
                  <c:v>2022</c:v>
                </c:pt>
                <c:pt idx="4">
                  <c:v>2023</c:v>
                </c:pt>
                <c:pt idx="5">
                  <c:v>2024E</c:v>
                </c:pt>
                <c:pt idx="6">
                  <c:v>2025E</c:v>
                </c:pt>
                <c:pt idx="7">
                  <c:v>2026E</c:v>
                </c:pt>
                <c:pt idx="8">
                  <c:v>2027E</c:v>
                </c:pt>
                <c:pt idx="9">
                  <c:v>2028E</c:v>
                </c:pt>
                <c:pt idx="10">
                  <c:v>2029E</c:v>
                </c:pt>
              </c:strCache>
            </c:strRef>
          </c:cat>
          <c:val>
            <c:numRef>
              <c:f>Sheet1!$B$2:$B$12</c:f>
              <c:numCache>
                <c:formatCode>General</c:formatCode>
                <c:ptCount val="11"/>
                <c:pt idx="0">
                  <c:v>648.79999999999995</c:v>
                </c:pt>
                <c:pt idx="1">
                  <c:v>764.8</c:v>
                </c:pt>
                <c:pt idx="2">
                  <c:v>864.5</c:v>
                </c:pt>
                <c:pt idx="3">
                  <c:v>951.1</c:v>
                </c:pt>
                <c:pt idx="4">
                  <c:v>1058.7</c:v>
                </c:pt>
                <c:pt idx="5">
                  <c:v>1164.5999999999999</c:v>
                </c:pt>
                <c:pt idx="6">
                  <c:v>1304.3</c:v>
                </c:pt>
                <c:pt idx="7">
                  <c:v>1421.7</c:v>
                </c:pt>
                <c:pt idx="8">
                  <c:v>1535.4</c:v>
                </c:pt>
                <c:pt idx="9">
                  <c:v>1650.6</c:v>
                </c:pt>
                <c:pt idx="10">
                  <c:v>1733.1</c:v>
                </c:pt>
              </c:numCache>
            </c:numRef>
          </c:val>
          <c:extLst>
            <c:ext xmlns:c16="http://schemas.microsoft.com/office/drawing/2014/chart" uri="{C3380CC4-5D6E-409C-BE32-E72D297353CC}">
              <c16:uniqueId val="{00000000-EA00-4014-97DA-00199FCDE737}"/>
            </c:ext>
          </c:extLst>
        </c:ser>
        <c:dLbls>
          <c:showLegendKey val="0"/>
          <c:showVal val="0"/>
          <c:showCatName val="0"/>
          <c:showSerName val="0"/>
          <c:showPercent val="0"/>
          <c:showBubbleSize val="0"/>
        </c:dLbls>
        <c:gapWidth val="219"/>
        <c:axId val="539582048"/>
        <c:axId val="539582528"/>
      </c:barChart>
      <c:catAx>
        <c:axId val="539582048"/>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9582528"/>
        <c:crosses val="autoZero"/>
        <c:auto val="1"/>
        <c:lblAlgn val="ctr"/>
        <c:lblOffset val="100"/>
        <c:noMultiLvlLbl val="0"/>
      </c:catAx>
      <c:valAx>
        <c:axId val="539582528"/>
        <c:scaling>
          <c:orientation val="minMax"/>
        </c:scaling>
        <c:delete val="0"/>
        <c:axPos val="l"/>
        <c:numFmt formatCode="&quot;$&quot;#,##0" sourceLinked="0"/>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39582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5"/>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3-D7CD-4390-8045-01F823696F66}"/>
              </c:ext>
            </c:extLst>
          </c:dPt>
          <c:dPt>
            <c:idx val="6"/>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4-D7CD-4390-8045-01F823696F66}"/>
              </c:ext>
            </c:extLst>
          </c:dPt>
          <c:dPt>
            <c:idx val="7"/>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5-D7CD-4390-8045-01F823696F66}"/>
              </c:ext>
            </c:extLst>
          </c:dPt>
          <c:dPt>
            <c:idx val="8"/>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6-D7CD-4390-8045-01F823696F66}"/>
              </c:ext>
            </c:extLst>
          </c:dPt>
          <c:dPt>
            <c:idx val="9"/>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7-D7CD-4390-8045-01F823696F66}"/>
              </c:ext>
            </c:extLst>
          </c:dPt>
          <c:dPt>
            <c:idx val="10"/>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8-D7CD-4390-8045-01F823696F66}"/>
              </c:ext>
            </c:extLst>
          </c:dPt>
          <c:cat>
            <c:strRef>
              <c:f>Sheet1!$A$2:$A$12</c:f>
              <c:strCache>
                <c:ptCount val="11"/>
                <c:pt idx="0">
                  <c:v>2019</c:v>
                </c:pt>
                <c:pt idx="1">
                  <c:v>2020</c:v>
                </c:pt>
                <c:pt idx="2">
                  <c:v>2021</c:v>
                </c:pt>
                <c:pt idx="3">
                  <c:v>2022</c:v>
                </c:pt>
                <c:pt idx="4">
                  <c:v>2023</c:v>
                </c:pt>
                <c:pt idx="5">
                  <c:v>2024E</c:v>
                </c:pt>
                <c:pt idx="6">
                  <c:v>2025E</c:v>
                </c:pt>
                <c:pt idx="7">
                  <c:v>2026E</c:v>
                </c:pt>
                <c:pt idx="8">
                  <c:v>2027E</c:v>
                </c:pt>
                <c:pt idx="9">
                  <c:v>2028E</c:v>
                </c:pt>
                <c:pt idx="10">
                  <c:v>2029E</c:v>
                </c:pt>
              </c:strCache>
            </c:strRef>
          </c:cat>
          <c:val>
            <c:numRef>
              <c:f>Sheet1!$B$2:$B$12</c:f>
              <c:numCache>
                <c:formatCode>"$"#,##0.00</c:formatCode>
                <c:ptCount val="11"/>
                <c:pt idx="0">
                  <c:v>468.6</c:v>
                </c:pt>
                <c:pt idx="1">
                  <c:v>537.1</c:v>
                </c:pt>
                <c:pt idx="2">
                  <c:v>595.20000000000005</c:v>
                </c:pt>
                <c:pt idx="3">
                  <c:v>646.70000000000005</c:v>
                </c:pt>
                <c:pt idx="4">
                  <c:v>715.9</c:v>
                </c:pt>
                <c:pt idx="5">
                  <c:v>786.1</c:v>
                </c:pt>
                <c:pt idx="6">
                  <c:v>880.4</c:v>
                </c:pt>
                <c:pt idx="7">
                  <c:v>956.1</c:v>
                </c:pt>
                <c:pt idx="8">
                  <c:v>1032.5999999999999</c:v>
                </c:pt>
                <c:pt idx="9">
                  <c:v>1105.9000000000001</c:v>
                </c:pt>
                <c:pt idx="10">
                  <c:v>1161.2</c:v>
                </c:pt>
              </c:numCache>
            </c:numRef>
          </c:val>
          <c:extLst>
            <c:ext xmlns:c16="http://schemas.microsoft.com/office/drawing/2014/chart" uri="{C3380CC4-5D6E-409C-BE32-E72D297353CC}">
              <c16:uniqueId val="{00000000-D7CD-4390-8045-01F823696F66}"/>
            </c:ext>
          </c:extLst>
        </c:ser>
        <c:dLbls>
          <c:showLegendKey val="0"/>
          <c:showVal val="0"/>
          <c:showCatName val="0"/>
          <c:showSerName val="0"/>
          <c:showPercent val="0"/>
          <c:showBubbleSize val="0"/>
        </c:dLbls>
        <c:gapWidth val="219"/>
        <c:overlap val="-27"/>
        <c:axId val="291800032"/>
        <c:axId val="291777952"/>
      </c:barChart>
      <c:catAx>
        <c:axId val="291800032"/>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91777952"/>
        <c:crosses val="autoZero"/>
        <c:auto val="1"/>
        <c:lblAlgn val="ctr"/>
        <c:lblOffset val="100"/>
        <c:noMultiLvlLbl val="0"/>
      </c:catAx>
      <c:valAx>
        <c:axId val="291777952"/>
        <c:scaling>
          <c:orientation val="minMax"/>
        </c:scaling>
        <c:delete val="0"/>
        <c:axPos val="l"/>
        <c:numFmt formatCode="&quot;$&quot;#,##0" sourceLinked="0"/>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91800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Series 1</c:v>
                </c:pt>
              </c:strCache>
            </c:strRef>
          </c:tx>
          <c:spPr>
            <a:solidFill>
              <a:schemeClr val="bg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3-1BA1-48B3-AD8A-6720135D44F3}"/>
              </c:ext>
            </c:extLst>
          </c:dPt>
          <c:cat>
            <c:strRef>
              <c:f>Sheet1!$A$2:$A$3</c:f>
              <c:strCache>
                <c:ptCount val="2"/>
                <c:pt idx="0">
                  <c:v>Street</c:v>
                </c:pt>
                <c:pt idx="1">
                  <c:v>TFSIG</c:v>
                </c:pt>
              </c:strCache>
            </c:strRef>
          </c:cat>
          <c:val>
            <c:numRef>
              <c:f>Sheet1!$B$2:$B$3</c:f>
              <c:numCache>
                <c:formatCode>"$"#,##0.00</c:formatCode>
                <c:ptCount val="2"/>
                <c:pt idx="0">
                  <c:v>136</c:v>
                </c:pt>
                <c:pt idx="1">
                  <c:v>141.88</c:v>
                </c:pt>
              </c:numCache>
            </c:numRef>
          </c:val>
          <c:extLst>
            <c:ext xmlns:c16="http://schemas.microsoft.com/office/drawing/2014/chart" uri="{C3380CC4-5D6E-409C-BE32-E72D297353CC}">
              <c16:uniqueId val="{00000000-1BA1-48B3-AD8A-6720135D44F3}"/>
            </c:ext>
          </c:extLst>
        </c:ser>
        <c:ser>
          <c:idx val="1"/>
          <c:order val="1"/>
          <c:tx>
            <c:strRef>
              <c:f>Sheet1!$C$1</c:f>
              <c:strCache>
                <c:ptCount val="1"/>
                <c:pt idx="0">
                  <c:v>Series 2</c:v>
                </c:pt>
              </c:strCache>
            </c:strRef>
          </c:tx>
          <c:spPr>
            <a:solidFill>
              <a:schemeClr val="tx2"/>
            </a:solidFill>
            <a:ln>
              <a:noFill/>
            </a:ln>
            <a:effectLst/>
          </c:spPr>
          <c:invertIfNegative val="0"/>
          <c:cat>
            <c:strRef>
              <c:f>Sheet1!$A$2:$A$3</c:f>
              <c:strCache>
                <c:ptCount val="2"/>
                <c:pt idx="0">
                  <c:v>Street</c:v>
                </c:pt>
                <c:pt idx="1">
                  <c:v>TFSIG</c:v>
                </c:pt>
              </c:strCache>
            </c:strRef>
          </c:cat>
          <c:val>
            <c:numRef>
              <c:f>Sheet1!$C$2:$C$3</c:f>
              <c:numCache>
                <c:formatCode>"$"#,##0.00</c:formatCode>
                <c:ptCount val="2"/>
                <c:pt idx="0">
                  <c:v>24</c:v>
                </c:pt>
                <c:pt idx="1">
                  <c:v>33.25</c:v>
                </c:pt>
              </c:numCache>
            </c:numRef>
          </c:val>
          <c:extLst>
            <c:ext xmlns:c16="http://schemas.microsoft.com/office/drawing/2014/chart" uri="{C3380CC4-5D6E-409C-BE32-E72D297353CC}">
              <c16:uniqueId val="{00000001-1BA1-48B3-AD8A-6720135D44F3}"/>
            </c:ext>
          </c:extLst>
        </c:ser>
        <c:dLbls>
          <c:showLegendKey val="0"/>
          <c:showVal val="0"/>
          <c:showCatName val="0"/>
          <c:showSerName val="0"/>
          <c:showPercent val="0"/>
          <c:showBubbleSize val="0"/>
        </c:dLbls>
        <c:gapWidth val="150"/>
        <c:overlap val="100"/>
        <c:axId val="1950322848"/>
        <c:axId val="1950326688"/>
      </c:barChart>
      <c:catAx>
        <c:axId val="1950322848"/>
        <c:scaling>
          <c:orientation val="minMax"/>
        </c:scaling>
        <c:delete val="0"/>
        <c:axPos val="l"/>
        <c:numFmt formatCode="General" sourceLinked="1"/>
        <c:majorTickMark val="out"/>
        <c:minorTickMark val="none"/>
        <c:tickLblPos val="nextTo"/>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950326688"/>
        <c:crosses val="autoZero"/>
        <c:auto val="1"/>
        <c:lblAlgn val="ctr"/>
        <c:lblOffset val="100"/>
        <c:noMultiLvlLbl val="0"/>
      </c:catAx>
      <c:valAx>
        <c:axId val="1950326688"/>
        <c:scaling>
          <c:orientation val="minMax"/>
          <c:min val="120"/>
        </c:scaling>
        <c:delete val="0"/>
        <c:axPos val="b"/>
        <c:numFmt formatCode="&quot;$&quot;#,##0.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9503228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evenue</c:v>
                </c:pt>
              </c:strCache>
            </c:strRef>
          </c:tx>
          <c:spPr>
            <a:solidFill>
              <a:schemeClr val="accent1"/>
            </a:solidFill>
            <a:ln>
              <a:noFill/>
            </a:ln>
            <a:effectLst/>
          </c:spPr>
          <c:invertIfNegative val="0"/>
          <c:cat>
            <c:numRef>
              <c:f>Sheet1!$A$2:$A$6</c:f>
              <c:numCache>
                <c:formatCode>General</c:formatCode>
                <c:ptCount val="5"/>
                <c:pt idx="0">
                  <c:v>2019</c:v>
                </c:pt>
                <c:pt idx="1">
                  <c:v>2020</c:v>
                </c:pt>
                <c:pt idx="2">
                  <c:v>2021</c:v>
                </c:pt>
                <c:pt idx="3">
                  <c:v>2022</c:v>
                </c:pt>
                <c:pt idx="4">
                  <c:v>2023</c:v>
                </c:pt>
              </c:numCache>
            </c:numRef>
          </c:cat>
          <c:val>
            <c:numRef>
              <c:f>Sheet1!$B$2:$B$6</c:f>
              <c:numCache>
                <c:formatCode>_("$"* #,##0.00_);_("$"* \(#,##0.00\);_("$"* "-"??_);_(@_)</c:formatCode>
                <c:ptCount val="5"/>
                <c:pt idx="0">
                  <c:v>648.79999999999995</c:v>
                </c:pt>
                <c:pt idx="1">
                  <c:v>764.8</c:v>
                </c:pt>
                <c:pt idx="2">
                  <c:v>864.5</c:v>
                </c:pt>
                <c:pt idx="3">
                  <c:v>951.1</c:v>
                </c:pt>
                <c:pt idx="4">
                  <c:v>1059.7</c:v>
                </c:pt>
              </c:numCache>
            </c:numRef>
          </c:val>
          <c:extLst>
            <c:ext xmlns:c16="http://schemas.microsoft.com/office/drawing/2014/chart" uri="{C3380CC4-5D6E-409C-BE32-E72D297353CC}">
              <c16:uniqueId val="{00000000-52F8-434E-AED8-9BA9143E0CFF}"/>
            </c:ext>
          </c:extLst>
        </c:ser>
        <c:dLbls>
          <c:showLegendKey val="0"/>
          <c:showVal val="0"/>
          <c:showCatName val="0"/>
          <c:showSerName val="0"/>
          <c:showPercent val="0"/>
          <c:showBubbleSize val="0"/>
        </c:dLbls>
        <c:gapWidth val="219"/>
        <c:overlap val="-27"/>
        <c:axId val="585300640"/>
        <c:axId val="585303040"/>
      </c:barChart>
      <c:catAx>
        <c:axId val="58530064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85303040"/>
        <c:crosses val="autoZero"/>
        <c:auto val="1"/>
        <c:lblAlgn val="ctr"/>
        <c:lblOffset val="100"/>
        <c:noMultiLvlLbl val="0"/>
      </c:catAx>
      <c:valAx>
        <c:axId val="585303040"/>
        <c:scaling>
          <c:orientation val="minMax"/>
          <c:min val="200"/>
        </c:scaling>
        <c:delete val="0"/>
        <c:axPos val="l"/>
        <c:numFmt formatCode="_-&quot;$&quot;* #,##0_-;\-&quot;$&quot;* #,##0_-;_-&quot;$&quot;* &quot;-&quot;??_-;_-@_-" sourceLinked="0"/>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85300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7D1-4612-B0EE-7D8D6FA67E7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7D1-4612-B0EE-7D8D6FA67E7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7D1-4612-B0EE-7D8D6FA67E75}"/>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Personal Care</c:v>
                </c:pt>
                <c:pt idx="1">
                  <c:v>Hospice</c:v>
                </c:pt>
                <c:pt idx="2">
                  <c:v>Home Health</c:v>
                </c:pt>
              </c:strCache>
            </c:strRef>
          </c:cat>
          <c:val>
            <c:numRef>
              <c:f>Sheet1!$B$2:$B$4</c:f>
              <c:numCache>
                <c:formatCode>0.0%</c:formatCode>
                <c:ptCount val="3"/>
                <c:pt idx="0">
                  <c:v>0.74099999999999999</c:v>
                </c:pt>
                <c:pt idx="1">
                  <c:v>0.19700000000000001</c:v>
                </c:pt>
                <c:pt idx="2">
                  <c:v>6.0999999999999999E-2</c:v>
                </c:pt>
              </c:numCache>
            </c:numRef>
          </c:val>
          <c:extLst>
            <c:ext xmlns:c16="http://schemas.microsoft.com/office/drawing/2014/chart" uri="{C3380CC4-5D6E-409C-BE32-E72D297353CC}">
              <c16:uniqueId val="{00000006-D7D1-4612-B0EE-7D8D6FA67E75}"/>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B$2:$B$6</c:f>
              <c:numCache>
                <c:formatCode>_-"$"* #,##0.0_-;\-"$"* #,##0.0_-;_-"$"* "-"??_-;_-@_-</c:formatCode>
                <c:ptCount val="5"/>
                <c:pt idx="0">
                  <c:v>105.6</c:v>
                </c:pt>
                <c:pt idx="1">
                  <c:v>112.4</c:v>
                </c:pt>
                <c:pt idx="2">
                  <c:v>125.1</c:v>
                </c:pt>
                <c:pt idx="3">
                  <c:v>125.4</c:v>
                </c:pt>
                <c:pt idx="4">
                  <c:v>132.9</c:v>
                </c:pt>
              </c:numCache>
            </c:numRef>
          </c:val>
          <c:extLst>
            <c:ext xmlns:c16="http://schemas.microsoft.com/office/drawing/2014/chart" uri="{C3380CC4-5D6E-409C-BE32-E72D297353CC}">
              <c16:uniqueId val="{00000000-0772-4CFF-BEC6-DAEC39D65F17}"/>
            </c:ext>
          </c:extLst>
        </c:ser>
        <c:dLbls>
          <c:dLblPos val="outEnd"/>
          <c:showLegendKey val="0"/>
          <c:showVal val="1"/>
          <c:showCatName val="0"/>
          <c:showSerName val="0"/>
          <c:showPercent val="0"/>
          <c:showBubbleSize val="0"/>
        </c:dLbls>
        <c:gapWidth val="219"/>
        <c:overlap val="-27"/>
        <c:axId val="1729865008"/>
        <c:axId val="1729874128"/>
      </c:barChart>
      <c:catAx>
        <c:axId val="1729865008"/>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9874128"/>
        <c:crosses val="autoZero"/>
        <c:auto val="1"/>
        <c:lblAlgn val="ctr"/>
        <c:lblOffset val="100"/>
        <c:noMultiLvlLbl val="0"/>
      </c:catAx>
      <c:valAx>
        <c:axId val="1729874128"/>
        <c:scaling>
          <c:orientation val="minMax"/>
          <c:min val="20"/>
        </c:scaling>
        <c:delete val="0"/>
        <c:axPos val="l"/>
        <c:numFmt formatCode="_-&quot;$&quot;* #,##0.0_-;\-&quot;$&quot;* #,##0.0_-;_-&quot;$&quot;* &quot;-&quot;??_-;_-@_-"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9865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ercentage of Total Populatio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00</c:v>
                </c:pt>
                <c:pt idx="1">
                  <c:v>2010</c:v>
                </c:pt>
                <c:pt idx="2">
                  <c:v>2020</c:v>
                </c:pt>
                <c:pt idx="3">
                  <c:v>2021</c:v>
                </c:pt>
                <c:pt idx="4">
                  <c:v>2022</c:v>
                </c:pt>
                <c:pt idx="5">
                  <c:v>2024</c:v>
                </c:pt>
                <c:pt idx="6">
                  <c:v>2030</c:v>
                </c:pt>
                <c:pt idx="7">
                  <c:v>2040</c:v>
                </c:pt>
              </c:numCache>
            </c:numRef>
          </c:cat>
          <c:val>
            <c:numRef>
              <c:f>Sheet1!$B$2:$B$9</c:f>
              <c:numCache>
                <c:formatCode>0.0%</c:formatCode>
                <c:ptCount val="8"/>
                <c:pt idx="0">
                  <c:v>0.124</c:v>
                </c:pt>
                <c:pt idx="1">
                  <c:v>0.13100000000000001</c:v>
                </c:pt>
                <c:pt idx="2">
                  <c:v>0.16500000000000001</c:v>
                </c:pt>
                <c:pt idx="3">
                  <c:v>0.16900000000000001</c:v>
                </c:pt>
                <c:pt idx="4">
                  <c:v>0.17299999999999999</c:v>
                </c:pt>
                <c:pt idx="5">
                  <c:v>0.18</c:v>
                </c:pt>
                <c:pt idx="6">
                  <c:v>0.20599999999999999</c:v>
                </c:pt>
                <c:pt idx="7">
                  <c:v>0.22</c:v>
                </c:pt>
              </c:numCache>
            </c:numRef>
          </c:val>
          <c:smooth val="0"/>
          <c:extLst>
            <c:ext xmlns:c16="http://schemas.microsoft.com/office/drawing/2014/chart" uri="{C3380CC4-5D6E-409C-BE32-E72D297353CC}">
              <c16:uniqueId val="{00000000-306D-4DC1-B52A-DD4107217F1F}"/>
            </c:ext>
          </c:extLst>
        </c:ser>
        <c:dLbls>
          <c:dLblPos val="t"/>
          <c:showLegendKey val="0"/>
          <c:showVal val="1"/>
          <c:showCatName val="0"/>
          <c:showSerName val="0"/>
          <c:showPercent val="0"/>
          <c:showBubbleSize val="0"/>
        </c:dLbls>
        <c:marker val="1"/>
        <c:smooth val="0"/>
        <c:axId val="1741105680"/>
        <c:axId val="1741131120"/>
      </c:lineChart>
      <c:catAx>
        <c:axId val="174110568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741131120"/>
        <c:crosses val="autoZero"/>
        <c:auto val="1"/>
        <c:lblAlgn val="ctr"/>
        <c:lblOffset val="100"/>
        <c:noMultiLvlLbl val="0"/>
      </c:catAx>
      <c:valAx>
        <c:axId val="1741131120"/>
        <c:scaling>
          <c:orientation val="minMax"/>
          <c:max val="0.25"/>
          <c:min val="5.000000000000001E-2"/>
        </c:scaling>
        <c:delete val="0"/>
        <c:axPos val="l"/>
        <c:numFmt formatCode="0.0%"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741105680"/>
        <c:crosses val="autoZero"/>
        <c:crossBetween val="between"/>
      </c:valAx>
      <c:spPr>
        <a:noFill/>
        <a:ln>
          <a:noFill/>
        </a:ln>
        <a:effectLst/>
      </c:spPr>
    </c:plotArea>
    <c:legend>
      <c:legendPos val="t"/>
      <c:layout>
        <c:manualLayout>
          <c:xMode val="edge"/>
          <c:yMode val="edge"/>
          <c:x val="0.22848320580387022"/>
          <c:y val="0.1282798833819242"/>
          <c:w val="0.54303358839225957"/>
          <c:h val="8.30228227817127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Home Health and Community-based Car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18</c:f>
              <c:numCache>
                <c:formatCode>General</c:formatCode>
                <c:ptCount val="17"/>
                <c:pt idx="0">
                  <c:v>2000</c:v>
                </c:pt>
                <c:pt idx="1">
                  <c:v>2002</c:v>
                </c:pt>
                <c:pt idx="2">
                  <c:v>2004</c:v>
                </c:pt>
                <c:pt idx="3">
                  <c:v>2006</c:v>
                </c:pt>
                <c:pt idx="4">
                  <c:v>2008</c:v>
                </c:pt>
                <c:pt idx="5">
                  <c:v>2010</c:v>
                </c:pt>
                <c:pt idx="6">
                  <c:v>2011</c:v>
                </c:pt>
                <c:pt idx="7">
                  <c:v>2012</c:v>
                </c:pt>
                <c:pt idx="8">
                  <c:v>2014</c:v>
                </c:pt>
                <c:pt idx="9">
                  <c:v>2015</c:v>
                </c:pt>
                <c:pt idx="10">
                  <c:v>2016</c:v>
                </c:pt>
                <c:pt idx="11">
                  <c:v>2017</c:v>
                </c:pt>
                <c:pt idx="12">
                  <c:v>2018</c:v>
                </c:pt>
                <c:pt idx="13">
                  <c:v>2019</c:v>
                </c:pt>
                <c:pt idx="14">
                  <c:v>2020</c:v>
                </c:pt>
                <c:pt idx="15">
                  <c:v>2021</c:v>
                </c:pt>
                <c:pt idx="16">
                  <c:v>2022</c:v>
                </c:pt>
              </c:numCache>
            </c:numRef>
          </c:cat>
          <c:val>
            <c:numRef>
              <c:f>Sheet1!$B$2:$B$18</c:f>
              <c:numCache>
                <c:formatCode>0%</c:formatCode>
                <c:ptCount val="17"/>
                <c:pt idx="0">
                  <c:v>0.3</c:v>
                </c:pt>
                <c:pt idx="1">
                  <c:v>0.32</c:v>
                </c:pt>
                <c:pt idx="2">
                  <c:v>0.37</c:v>
                </c:pt>
                <c:pt idx="3">
                  <c:v>0.41</c:v>
                </c:pt>
                <c:pt idx="4">
                  <c:v>0.42</c:v>
                </c:pt>
                <c:pt idx="5">
                  <c:v>0.45</c:v>
                </c:pt>
                <c:pt idx="6">
                  <c:v>0.45</c:v>
                </c:pt>
                <c:pt idx="7">
                  <c:v>0.45</c:v>
                </c:pt>
                <c:pt idx="8">
                  <c:v>0.46</c:v>
                </c:pt>
                <c:pt idx="9">
                  <c:v>0.51</c:v>
                </c:pt>
                <c:pt idx="10">
                  <c:v>0.52</c:v>
                </c:pt>
                <c:pt idx="11">
                  <c:v>0.54</c:v>
                </c:pt>
                <c:pt idx="12">
                  <c:v>0.56999999999999995</c:v>
                </c:pt>
                <c:pt idx="13">
                  <c:v>0.59</c:v>
                </c:pt>
                <c:pt idx="14">
                  <c:v>0.61</c:v>
                </c:pt>
                <c:pt idx="15">
                  <c:v>0.64</c:v>
                </c:pt>
                <c:pt idx="16">
                  <c:v>0.65</c:v>
                </c:pt>
              </c:numCache>
            </c:numRef>
          </c:val>
          <c:smooth val="0"/>
          <c:extLst>
            <c:ext xmlns:c16="http://schemas.microsoft.com/office/drawing/2014/chart" uri="{C3380CC4-5D6E-409C-BE32-E72D297353CC}">
              <c16:uniqueId val="{00000000-987F-4E5D-BA19-1808A80F95FF}"/>
            </c:ext>
          </c:extLst>
        </c:ser>
        <c:ser>
          <c:idx val="1"/>
          <c:order val="1"/>
          <c:tx>
            <c:strRef>
              <c:f>Sheet1!$C$1</c:f>
              <c:strCache>
                <c:ptCount val="1"/>
                <c:pt idx="0">
                  <c:v>Institutional Car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18</c:f>
              <c:numCache>
                <c:formatCode>General</c:formatCode>
                <c:ptCount val="17"/>
                <c:pt idx="0">
                  <c:v>2000</c:v>
                </c:pt>
                <c:pt idx="1">
                  <c:v>2002</c:v>
                </c:pt>
                <c:pt idx="2">
                  <c:v>2004</c:v>
                </c:pt>
                <c:pt idx="3">
                  <c:v>2006</c:v>
                </c:pt>
                <c:pt idx="4">
                  <c:v>2008</c:v>
                </c:pt>
                <c:pt idx="5">
                  <c:v>2010</c:v>
                </c:pt>
                <c:pt idx="6">
                  <c:v>2011</c:v>
                </c:pt>
                <c:pt idx="7">
                  <c:v>2012</c:v>
                </c:pt>
                <c:pt idx="8">
                  <c:v>2014</c:v>
                </c:pt>
                <c:pt idx="9">
                  <c:v>2015</c:v>
                </c:pt>
                <c:pt idx="10">
                  <c:v>2016</c:v>
                </c:pt>
                <c:pt idx="11">
                  <c:v>2017</c:v>
                </c:pt>
                <c:pt idx="12">
                  <c:v>2018</c:v>
                </c:pt>
                <c:pt idx="13">
                  <c:v>2019</c:v>
                </c:pt>
                <c:pt idx="14">
                  <c:v>2020</c:v>
                </c:pt>
                <c:pt idx="15">
                  <c:v>2021</c:v>
                </c:pt>
                <c:pt idx="16">
                  <c:v>2022</c:v>
                </c:pt>
              </c:numCache>
            </c:numRef>
          </c:cat>
          <c:val>
            <c:numRef>
              <c:f>Sheet1!$C$2:$C$18</c:f>
              <c:numCache>
                <c:formatCode>0%</c:formatCode>
                <c:ptCount val="17"/>
                <c:pt idx="0">
                  <c:v>0.7</c:v>
                </c:pt>
                <c:pt idx="1">
                  <c:v>0.67999999999999994</c:v>
                </c:pt>
                <c:pt idx="2">
                  <c:v>0.63</c:v>
                </c:pt>
                <c:pt idx="3">
                  <c:v>0.59000000000000008</c:v>
                </c:pt>
                <c:pt idx="4">
                  <c:v>0.58000000000000007</c:v>
                </c:pt>
                <c:pt idx="5">
                  <c:v>0.55000000000000004</c:v>
                </c:pt>
                <c:pt idx="6">
                  <c:v>0.55000000000000004</c:v>
                </c:pt>
                <c:pt idx="7">
                  <c:v>0.55000000000000004</c:v>
                </c:pt>
                <c:pt idx="8">
                  <c:v>0.54</c:v>
                </c:pt>
                <c:pt idx="9">
                  <c:v>0.49</c:v>
                </c:pt>
                <c:pt idx="10">
                  <c:v>0.48</c:v>
                </c:pt>
                <c:pt idx="11">
                  <c:v>0.45999999999999996</c:v>
                </c:pt>
                <c:pt idx="12">
                  <c:v>0.43000000000000005</c:v>
                </c:pt>
                <c:pt idx="13">
                  <c:v>0.41000000000000003</c:v>
                </c:pt>
                <c:pt idx="14">
                  <c:v>0.39</c:v>
                </c:pt>
                <c:pt idx="15">
                  <c:v>0.36</c:v>
                </c:pt>
                <c:pt idx="16">
                  <c:v>0.35</c:v>
                </c:pt>
              </c:numCache>
            </c:numRef>
          </c:val>
          <c:smooth val="0"/>
          <c:extLst>
            <c:ext xmlns:c16="http://schemas.microsoft.com/office/drawing/2014/chart" uri="{C3380CC4-5D6E-409C-BE32-E72D297353CC}">
              <c16:uniqueId val="{00000001-987F-4E5D-BA19-1808A80F95FF}"/>
            </c:ext>
          </c:extLst>
        </c:ser>
        <c:dLbls>
          <c:showLegendKey val="0"/>
          <c:showVal val="0"/>
          <c:showCatName val="0"/>
          <c:showSerName val="0"/>
          <c:showPercent val="0"/>
          <c:showBubbleSize val="0"/>
        </c:dLbls>
        <c:marker val="1"/>
        <c:smooth val="0"/>
        <c:axId val="1741109040"/>
        <c:axId val="1741103760"/>
      </c:lineChart>
      <c:catAx>
        <c:axId val="174110904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741103760"/>
        <c:crosses val="autoZero"/>
        <c:auto val="1"/>
        <c:lblAlgn val="ctr"/>
        <c:lblOffset val="100"/>
        <c:tickLblSkip val="1"/>
        <c:tickMarkSkip val="1"/>
        <c:noMultiLvlLbl val="0"/>
      </c:catAx>
      <c:valAx>
        <c:axId val="1741103760"/>
        <c:scaling>
          <c:orientation val="minMax"/>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741109040"/>
        <c:crosses val="autoZero"/>
        <c:crossBetween val="between"/>
      </c:valAx>
      <c:spPr>
        <a:noFill/>
        <a:ln>
          <a:noFill/>
        </a:ln>
        <a:effectLst/>
      </c:spPr>
    </c:plotArea>
    <c:legend>
      <c:legendPos val="t"/>
      <c:layout>
        <c:manualLayout>
          <c:xMode val="edge"/>
          <c:yMode val="edge"/>
          <c:x val="9.3578931026631743E-2"/>
          <c:y val="7.771988531241901E-2"/>
          <c:w val="0.84963784955624222"/>
          <c:h val="7.134085871794851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969D-42E0-B35D-65E0632C0160}"/>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2-969D-42E0-B35D-65E0632C0160}"/>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3-969D-42E0-B35D-65E0632C0160}"/>
              </c:ext>
            </c:extLst>
          </c:dPt>
          <c:dPt>
            <c:idx val="3"/>
            <c:bubble3D val="0"/>
            <c:spPr>
              <a:solidFill>
                <a:schemeClr val="accent6">
                  <a:lumMod val="90000"/>
                </a:schemeClr>
              </a:solidFill>
              <a:ln w="19050">
                <a:solidFill>
                  <a:schemeClr val="lt1"/>
                </a:solidFill>
              </a:ln>
              <a:effectLst/>
            </c:spPr>
            <c:extLst>
              <c:ext xmlns:c16="http://schemas.microsoft.com/office/drawing/2014/chart" uri="{C3380CC4-5D6E-409C-BE32-E72D297353CC}">
                <c16:uniqueId val="{00000004-969D-42E0-B35D-65E0632C0160}"/>
              </c:ext>
            </c:extLst>
          </c:dPt>
          <c:dPt>
            <c:idx val="4"/>
            <c:bubble3D val="0"/>
            <c:spPr>
              <a:solidFill>
                <a:schemeClr val="tx1"/>
              </a:solidFill>
              <a:ln w="19050">
                <a:solidFill>
                  <a:schemeClr val="lt1"/>
                </a:solidFill>
              </a:ln>
              <a:effectLst/>
            </c:spPr>
            <c:extLst>
              <c:ext xmlns:c16="http://schemas.microsoft.com/office/drawing/2014/chart" uri="{C3380CC4-5D6E-409C-BE32-E72D297353CC}">
                <c16:uniqueId val="{00000005-969D-42E0-B35D-65E0632C0160}"/>
              </c:ext>
            </c:extLst>
          </c:dPt>
          <c:dPt>
            <c:idx val="5"/>
            <c:bubble3D val="0"/>
            <c:spPr>
              <a:solidFill>
                <a:schemeClr val="tx2"/>
              </a:solidFill>
              <a:ln w="19050">
                <a:solidFill>
                  <a:schemeClr val="lt1"/>
                </a:solidFill>
              </a:ln>
              <a:effectLst/>
            </c:spPr>
            <c:extLst>
              <c:ext xmlns:c16="http://schemas.microsoft.com/office/drawing/2014/chart" uri="{C3380CC4-5D6E-409C-BE32-E72D297353CC}">
                <c16:uniqueId val="{00000006-969D-42E0-B35D-65E0632C0160}"/>
              </c:ext>
            </c:extLst>
          </c:dPt>
          <c:cat>
            <c:strRef>
              <c:f>Sheet1!$A$2:$A$7</c:f>
              <c:strCache>
                <c:ptCount val="6"/>
                <c:pt idx="0">
                  <c:v>Chemed</c:v>
                </c:pt>
                <c:pt idx="1">
                  <c:v>Option Care Health</c:v>
                </c:pt>
                <c:pt idx="2">
                  <c:v>BrightSpring Health Services</c:v>
                </c:pt>
                <c:pt idx="3">
                  <c:v>Amedisys</c:v>
                </c:pt>
                <c:pt idx="4">
                  <c:v>Addus Homecare</c:v>
                </c:pt>
                <c:pt idx="5">
                  <c:v>Other</c:v>
                </c:pt>
              </c:strCache>
            </c:strRef>
          </c:cat>
          <c:val>
            <c:numRef>
              <c:f>Sheet1!$B$2:$B$7</c:f>
              <c:numCache>
                <c:formatCode>0.0%</c:formatCode>
                <c:ptCount val="6"/>
                <c:pt idx="0">
                  <c:v>2.3E-2</c:v>
                </c:pt>
                <c:pt idx="1">
                  <c:v>1.0999999999999999E-2</c:v>
                </c:pt>
                <c:pt idx="2">
                  <c:v>8.9999999999999993E-3</c:v>
                </c:pt>
                <c:pt idx="3">
                  <c:v>8.0000000000000002E-3</c:v>
                </c:pt>
                <c:pt idx="4">
                  <c:v>6.0000000000000001E-3</c:v>
                </c:pt>
                <c:pt idx="5">
                  <c:v>0.94299999999999995</c:v>
                </c:pt>
              </c:numCache>
            </c:numRef>
          </c:val>
          <c:extLst>
            <c:ext xmlns:c16="http://schemas.microsoft.com/office/drawing/2014/chart" uri="{C3380CC4-5D6E-409C-BE32-E72D297353CC}">
              <c16:uniqueId val="{00000000-969D-42E0-B35D-65E0632C0160}"/>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dult Day Services Center</c:v>
                </c:pt>
              </c:strCache>
            </c:strRef>
          </c:tx>
          <c:spPr>
            <a:solidFill>
              <a:schemeClr val="accent1"/>
            </a:solidFill>
            <a:ln>
              <a:noFill/>
            </a:ln>
            <a:effectLst/>
          </c:spPr>
          <c:invertIfNegative val="0"/>
          <c:cat>
            <c:strRef>
              <c:f>Sheet1!$A$2:$A$5</c:f>
              <c:strCache>
                <c:ptCount val="4"/>
                <c:pt idx="0">
                  <c:v>Northeast</c:v>
                </c:pt>
                <c:pt idx="1">
                  <c:v>Midwest</c:v>
                </c:pt>
                <c:pt idx="2">
                  <c:v>South</c:v>
                </c:pt>
                <c:pt idx="3">
                  <c:v>West</c:v>
                </c:pt>
              </c:strCache>
            </c:strRef>
          </c:cat>
          <c:val>
            <c:numRef>
              <c:f>Sheet1!$B$2:$B$5</c:f>
              <c:numCache>
                <c:formatCode>0%</c:formatCode>
                <c:ptCount val="4"/>
                <c:pt idx="0">
                  <c:v>0.19</c:v>
                </c:pt>
                <c:pt idx="1">
                  <c:v>0.15</c:v>
                </c:pt>
                <c:pt idx="2">
                  <c:v>0.33</c:v>
                </c:pt>
                <c:pt idx="3">
                  <c:v>0.33</c:v>
                </c:pt>
              </c:numCache>
            </c:numRef>
          </c:val>
          <c:extLst>
            <c:ext xmlns:c16="http://schemas.microsoft.com/office/drawing/2014/chart" uri="{C3380CC4-5D6E-409C-BE32-E72D297353CC}">
              <c16:uniqueId val="{00000000-5E9F-4811-92BE-31B076C264DF}"/>
            </c:ext>
          </c:extLst>
        </c:ser>
        <c:ser>
          <c:idx val="1"/>
          <c:order val="1"/>
          <c:tx>
            <c:strRef>
              <c:f>Sheet1!$C$1</c:f>
              <c:strCache>
                <c:ptCount val="1"/>
                <c:pt idx="0">
                  <c:v>Residential Care Community</c:v>
                </c:pt>
              </c:strCache>
            </c:strRef>
          </c:tx>
          <c:spPr>
            <a:solidFill>
              <a:schemeClr val="accent2"/>
            </a:solidFill>
            <a:ln>
              <a:noFill/>
            </a:ln>
            <a:effectLst/>
          </c:spPr>
          <c:invertIfNegative val="0"/>
          <c:cat>
            <c:strRef>
              <c:f>Sheet1!$A$2:$A$5</c:f>
              <c:strCache>
                <c:ptCount val="4"/>
                <c:pt idx="0">
                  <c:v>Northeast</c:v>
                </c:pt>
                <c:pt idx="1">
                  <c:v>Midwest</c:v>
                </c:pt>
                <c:pt idx="2">
                  <c:v>South</c:v>
                </c:pt>
                <c:pt idx="3">
                  <c:v>West</c:v>
                </c:pt>
              </c:strCache>
            </c:strRef>
          </c:cat>
          <c:val>
            <c:numRef>
              <c:f>Sheet1!$C$2:$C$5</c:f>
              <c:numCache>
                <c:formatCode>0%</c:formatCode>
                <c:ptCount val="4"/>
                <c:pt idx="0">
                  <c:v>7.0000000000000007E-2</c:v>
                </c:pt>
                <c:pt idx="1">
                  <c:v>0.25</c:v>
                </c:pt>
                <c:pt idx="2">
                  <c:v>0.28000000000000003</c:v>
                </c:pt>
                <c:pt idx="3">
                  <c:v>0.39</c:v>
                </c:pt>
              </c:numCache>
            </c:numRef>
          </c:val>
          <c:extLst>
            <c:ext xmlns:c16="http://schemas.microsoft.com/office/drawing/2014/chart" uri="{C3380CC4-5D6E-409C-BE32-E72D297353CC}">
              <c16:uniqueId val="{00000001-5E9F-4811-92BE-31B076C264DF}"/>
            </c:ext>
          </c:extLst>
        </c:ser>
        <c:ser>
          <c:idx val="2"/>
          <c:order val="2"/>
          <c:tx>
            <c:strRef>
              <c:f>Sheet1!$D$1</c:f>
              <c:strCache>
                <c:ptCount val="1"/>
                <c:pt idx="0">
                  <c:v>Hospice</c:v>
                </c:pt>
              </c:strCache>
            </c:strRef>
          </c:tx>
          <c:spPr>
            <a:solidFill>
              <a:schemeClr val="accent3"/>
            </a:solidFill>
            <a:ln>
              <a:noFill/>
            </a:ln>
            <a:effectLst/>
          </c:spPr>
          <c:invertIfNegative val="0"/>
          <c:cat>
            <c:strRef>
              <c:f>Sheet1!$A$2:$A$5</c:f>
              <c:strCache>
                <c:ptCount val="4"/>
                <c:pt idx="0">
                  <c:v>Northeast</c:v>
                </c:pt>
                <c:pt idx="1">
                  <c:v>Midwest</c:v>
                </c:pt>
                <c:pt idx="2">
                  <c:v>South</c:v>
                </c:pt>
                <c:pt idx="3">
                  <c:v>West</c:v>
                </c:pt>
              </c:strCache>
            </c:strRef>
          </c:cat>
          <c:val>
            <c:numRef>
              <c:f>Sheet1!$D$2:$D$5</c:f>
              <c:numCache>
                <c:formatCode>0%</c:formatCode>
                <c:ptCount val="4"/>
                <c:pt idx="0">
                  <c:v>0.11</c:v>
                </c:pt>
                <c:pt idx="1">
                  <c:v>0.2</c:v>
                </c:pt>
                <c:pt idx="2">
                  <c:v>0.53</c:v>
                </c:pt>
                <c:pt idx="3">
                  <c:v>0.15</c:v>
                </c:pt>
              </c:numCache>
            </c:numRef>
          </c:val>
          <c:extLst>
            <c:ext xmlns:c16="http://schemas.microsoft.com/office/drawing/2014/chart" uri="{C3380CC4-5D6E-409C-BE32-E72D297353CC}">
              <c16:uniqueId val="{00000002-5E9F-4811-92BE-31B076C264DF}"/>
            </c:ext>
          </c:extLst>
        </c:ser>
        <c:ser>
          <c:idx val="3"/>
          <c:order val="3"/>
          <c:tx>
            <c:strRef>
              <c:f>Sheet1!$E$1</c:f>
              <c:strCache>
                <c:ptCount val="1"/>
                <c:pt idx="0">
                  <c:v>Long-Term Care Hospital</c:v>
                </c:pt>
              </c:strCache>
            </c:strRef>
          </c:tx>
          <c:spPr>
            <a:solidFill>
              <a:schemeClr val="accent4"/>
            </a:solidFill>
            <a:ln>
              <a:noFill/>
            </a:ln>
            <a:effectLst/>
          </c:spPr>
          <c:invertIfNegative val="0"/>
          <c:cat>
            <c:strRef>
              <c:f>Sheet1!$A$2:$A$5</c:f>
              <c:strCache>
                <c:ptCount val="4"/>
                <c:pt idx="0">
                  <c:v>Northeast</c:v>
                </c:pt>
                <c:pt idx="1">
                  <c:v>Midwest</c:v>
                </c:pt>
                <c:pt idx="2">
                  <c:v>South</c:v>
                </c:pt>
                <c:pt idx="3">
                  <c:v>West</c:v>
                </c:pt>
              </c:strCache>
            </c:strRef>
          </c:cat>
          <c:val>
            <c:numRef>
              <c:f>Sheet1!$E$2:$E$5</c:f>
              <c:numCache>
                <c:formatCode>0%</c:formatCode>
                <c:ptCount val="4"/>
                <c:pt idx="0">
                  <c:v>7.4999999999999997E-2</c:v>
                </c:pt>
                <c:pt idx="1">
                  <c:v>0.18</c:v>
                </c:pt>
                <c:pt idx="2">
                  <c:v>0.37</c:v>
                </c:pt>
                <c:pt idx="3">
                  <c:v>0.36</c:v>
                </c:pt>
              </c:numCache>
            </c:numRef>
          </c:val>
          <c:extLst>
            <c:ext xmlns:c16="http://schemas.microsoft.com/office/drawing/2014/chart" uri="{C3380CC4-5D6E-409C-BE32-E72D297353CC}">
              <c16:uniqueId val="{00000003-5E9F-4811-92BE-31B076C264DF}"/>
            </c:ext>
          </c:extLst>
        </c:ser>
        <c:ser>
          <c:idx val="4"/>
          <c:order val="4"/>
          <c:tx>
            <c:strRef>
              <c:f>Sheet1!$F$1</c:f>
              <c:strCache>
                <c:ptCount val="1"/>
                <c:pt idx="0">
                  <c:v>Nursing Home</c:v>
                </c:pt>
              </c:strCache>
            </c:strRef>
          </c:tx>
          <c:spPr>
            <a:solidFill>
              <a:schemeClr val="accent5"/>
            </a:solidFill>
            <a:ln>
              <a:noFill/>
            </a:ln>
            <a:effectLst/>
          </c:spPr>
          <c:invertIfNegative val="0"/>
          <c:cat>
            <c:strRef>
              <c:f>Sheet1!$A$2:$A$5</c:f>
              <c:strCache>
                <c:ptCount val="4"/>
                <c:pt idx="0">
                  <c:v>Northeast</c:v>
                </c:pt>
                <c:pt idx="1">
                  <c:v>Midwest</c:v>
                </c:pt>
                <c:pt idx="2">
                  <c:v>South</c:v>
                </c:pt>
                <c:pt idx="3">
                  <c:v>West</c:v>
                </c:pt>
              </c:strCache>
            </c:strRef>
          </c:cat>
          <c:val>
            <c:numRef>
              <c:f>Sheet1!$F$2:$F$5</c:f>
              <c:numCache>
                <c:formatCode>0%</c:formatCode>
                <c:ptCount val="4"/>
                <c:pt idx="0">
                  <c:v>0.16</c:v>
                </c:pt>
                <c:pt idx="1">
                  <c:v>0.33</c:v>
                </c:pt>
                <c:pt idx="2">
                  <c:v>0.36</c:v>
                </c:pt>
                <c:pt idx="3">
                  <c:v>0.16</c:v>
                </c:pt>
              </c:numCache>
            </c:numRef>
          </c:val>
          <c:extLst>
            <c:ext xmlns:c16="http://schemas.microsoft.com/office/drawing/2014/chart" uri="{C3380CC4-5D6E-409C-BE32-E72D297353CC}">
              <c16:uniqueId val="{00000004-5E9F-4811-92BE-31B076C264DF}"/>
            </c:ext>
          </c:extLst>
        </c:ser>
        <c:ser>
          <c:idx val="5"/>
          <c:order val="5"/>
          <c:tx>
            <c:strRef>
              <c:f>Sheet1!$G$1</c:f>
              <c:strCache>
                <c:ptCount val="1"/>
                <c:pt idx="0">
                  <c:v>Home Health Agency</c:v>
                </c:pt>
              </c:strCache>
            </c:strRef>
          </c:tx>
          <c:spPr>
            <a:solidFill>
              <a:schemeClr val="accent6"/>
            </a:solidFill>
            <a:ln>
              <a:noFill/>
            </a:ln>
            <a:effectLst/>
          </c:spPr>
          <c:invertIfNegative val="0"/>
          <c:cat>
            <c:strRef>
              <c:f>Sheet1!$A$2:$A$5</c:f>
              <c:strCache>
                <c:ptCount val="4"/>
                <c:pt idx="0">
                  <c:v>Northeast</c:v>
                </c:pt>
                <c:pt idx="1">
                  <c:v>Midwest</c:v>
                </c:pt>
                <c:pt idx="2">
                  <c:v>South</c:v>
                </c:pt>
                <c:pt idx="3">
                  <c:v>West</c:v>
                </c:pt>
              </c:strCache>
            </c:strRef>
          </c:cat>
          <c:val>
            <c:numRef>
              <c:f>Sheet1!$G$2:$G$5</c:f>
              <c:numCache>
                <c:formatCode>0%</c:formatCode>
                <c:ptCount val="4"/>
                <c:pt idx="0">
                  <c:v>0.09</c:v>
                </c:pt>
                <c:pt idx="1">
                  <c:v>0.25</c:v>
                </c:pt>
                <c:pt idx="2">
                  <c:v>0.42</c:v>
                </c:pt>
                <c:pt idx="3">
                  <c:v>0.23</c:v>
                </c:pt>
              </c:numCache>
            </c:numRef>
          </c:val>
          <c:extLst>
            <c:ext xmlns:c16="http://schemas.microsoft.com/office/drawing/2014/chart" uri="{C3380CC4-5D6E-409C-BE32-E72D297353CC}">
              <c16:uniqueId val="{00000005-5E9F-4811-92BE-31B076C264DF}"/>
            </c:ext>
          </c:extLst>
        </c:ser>
        <c:dLbls>
          <c:showLegendKey val="0"/>
          <c:showVal val="0"/>
          <c:showCatName val="0"/>
          <c:showSerName val="0"/>
          <c:showPercent val="0"/>
          <c:showBubbleSize val="0"/>
        </c:dLbls>
        <c:gapWidth val="219"/>
        <c:overlap val="-27"/>
        <c:axId val="113702175"/>
        <c:axId val="113689695"/>
      </c:barChart>
      <c:catAx>
        <c:axId val="113702175"/>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13689695"/>
        <c:crosses val="autoZero"/>
        <c:auto val="1"/>
        <c:lblAlgn val="ctr"/>
        <c:lblOffset val="100"/>
        <c:noMultiLvlLbl val="0"/>
      </c:catAx>
      <c:valAx>
        <c:axId val="113689695"/>
        <c:scaling>
          <c:orientation val="minMax"/>
        </c:scaling>
        <c:delete val="0"/>
        <c:axPos val="l"/>
        <c:numFmt formatCode="0%" sourceLinked="1"/>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13702175"/>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6-06B3-4524-BE0C-82BEB95E32A1}"/>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5-06B3-4524-BE0C-82BEB95E32A1}"/>
              </c:ext>
            </c:extLst>
          </c:dPt>
          <c:dPt>
            <c:idx val="2"/>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4-FC39-4150-8E9B-2048CD2CDD7A}"/>
              </c:ext>
            </c:extLst>
          </c:dPt>
          <c:dPt>
            <c:idx val="3"/>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5-FC39-4150-8E9B-2048CD2CDD7A}"/>
              </c:ext>
            </c:extLst>
          </c:dPt>
          <c:dPt>
            <c:idx val="4"/>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6-FC39-4150-8E9B-2048CD2CDD7A}"/>
              </c:ext>
            </c:extLst>
          </c:dPt>
          <c:dPt>
            <c:idx val="5"/>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7-FC39-4150-8E9B-2048CD2CDD7A}"/>
              </c:ext>
            </c:extLst>
          </c:dPt>
          <c:dPt>
            <c:idx val="6"/>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8-FC39-4150-8E9B-2048CD2CDD7A}"/>
              </c:ext>
            </c:extLst>
          </c:dPt>
          <c:dPt>
            <c:idx val="7"/>
            <c:invertIfNegative val="0"/>
            <c:bubble3D val="0"/>
            <c:spPr>
              <a:pattFill prst="dkUpDiag">
                <a:fgClr>
                  <a:schemeClr val="accent1"/>
                </a:fgClr>
                <a:bgClr>
                  <a:schemeClr val="bg1"/>
                </a:bgClr>
              </a:pattFill>
              <a:ln>
                <a:noFill/>
              </a:ln>
              <a:effectLst/>
            </c:spPr>
            <c:extLst>
              <c:ext xmlns:c16="http://schemas.microsoft.com/office/drawing/2014/chart" uri="{C3380CC4-5D6E-409C-BE32-E72D297353CC}">
                <c16:uniqueId val="{00000009-FC39-4150-8E9B-2048CD2CDD7A}"/>
              </c:ext>
            </c:extLst>
          </c:dPt>
          <c:cat>
            <c:strRef>
              <c:f>Sheet1!$A$2:$A$9</c:f>
              <c:strCache>
                <c:ptCount val="8"/>
                <c:pt idx="0">
                  <c:v>2023</c:v>
                </c:pt>
                <c:pt idx="1">
                  <c:v>2024</c:v>
                </c:pt>
                <c:pt idx="2">
                  <c:v>2025E</c:v>
                </c:pt>
                <c:pt idx="3">
                  <c:v>2026E</c:v>
                </c:pt>
                <c:pt idx="4">
                  <c:v>2027E</c:v>
                </c:pt>
                <c:pt idx="5">
                  <c:v>2028E</c:v>
                </c:pt>
                <c:pt idx="6">
                  <c:v>2029E</c:v>
                </c:pt>
                <c:pt idx="7">
                  <c:v>2030E</c:v>
                </c:pt>
              </c:strCache>
            </c:strRef>
          </c:cat>
          <c:val>
            <c:numRef>
              <c:f>Sheet1!$B$2:$B$9</c:f>
              <c:numCache>
                <c:formatCode>"$"#,##0.00</c:formatCode>
                <c:ptCount val="8"/>
                <c:pt idx="0">
                  <c:v>37.9</c:v>
                </c:pt>
                <c:pt idx="1">
                  <c:v>40</c:v>
                </c:pt>
                <c:pt idx="2">
                  <c:v>42.5</c:v>
                </c:pt>
                <c:pt idx="3">
                  <c:v>47.5</c:v>
                </c:pt>
                <c:pt idx="4">
                  <c:v>50</c:v>
                </c:pt>
                <c:pt idx="5">
                  <c:v>55</c:v>
                </c:pt>
                <c:pt idx="6">
                  <c:v>60</c:v>
                </c:pt>
                <c:pt idx="7">
                  <c:v>65</c:v>
                </c:pt>
              </c:numCache>
            </c:numRef>
          </c:val>
          <c:extLst>
            <c:ext xmlns:c16="http://schemas.microsoft.com/office/drawing/2014/chart" uri="{C3380CC4-5D6E-409C-BE32-E72D297353CC}">
              <c16:uniqueId val="{00000000-06B3-4524-BE0C-82BEB95E32A1}"/>
            </c:ext>
          </c:extLst>
        </c:ser>
        <c:dLbls>
          <c:showLegendKey val="0"/>
          <c:showVal val="0"/>
          <c:showCatName val="0"/>
          <c:showSerName val="0"/>
          <c:showPercent val="0"/>
          <c:showBubbleSize val="0"/>
        </c:dLbls>
        <c:gapWidth val="219"/>
        <c:overlap val="-27"/>
        <c:axId val="2124095184"/>
        <c:axId val="2124096624"/>
      </c:barChart>
      <c:catAx>
        <c:axId val="2124095184"/>
        <c:scaling>
          <c:orientation val="minMax"/>
        </c:scaling>
        <c:delete val="0"/>
        <c:axPos val="b"/>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24096624"/>
        <c:crosses val="autoZero"/>
        <c:auto val="1"/>
        <c:lblAlgn val="ctr"/>
        <c:lblOffset val="100"/>
        <c:noMultiLvlLbl val="0"/>
      </c:catAx>
      <c:valAx>
        <c:axId val="2124096624"/>
        <c:scaling>
          <c:orientation val="minMax"/>
          <c:min val="30"/>
        </c:scaling>
        <c:delete val="0"/>
        <c:axPos val="l"/>
        <c:numFmt formatCode="&quot;$&quot;#,##0"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24095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7</cx:f>
        <cx:lvl ptCount="56">
          <cx:pt idx="0">Washington</cx:pt>
          <cx:pt idx="1">Oregon</cx:pt>
          <cx:pt idx="2">California</cx:pt>
          <cx:pt idx="3">Idaho</cx:pt>
          <cx:pt idx="4">Montana</cx:pt>
          <cx:pt idx="5">Arizona</cx:pt>
          <cx:pt idx="6">New Mexico</cx:pt>
          <cx:pt idx="7">Texas</cx:pt>
          <cx:pt idx="8">Arkansas</cx:pt>
          <cx:pt idx="9">Michigan</cx:pt>
          <cx:pt idx="10">Illinois</cx:pt>
          <cx:pt idx="11">Tennessee</cx:pt>
          <cx:pt idx="12">Alabama</cx:pt>
          <cx:pt idx="13">Gerogia</cx:pt>
          <cx:pt idx="14">Florida</cx:pt>
          <cx:pt idx="15">South Carolina</cx:pt>
          <cx:pt idx="16">Virginia</cx:pt>
          <cx:pt idx="17">Ohio</cx:pt>
          <cx:pt idx="18">Pennsylvania</cx:pt>
          <cx:pt idx="19">New York</cx:pt>
          <cx:pt idx="20">Deleware</cx:pt>
        </cx:lvl>
      </cx:strDim>
      <cx:numDim type="colorVal">
        <cx:f>Sheet1!$B$2:$B$57</cx:f>
        <cx:nf>Sheet1!$B$1</cx:nf>
        <cx:lvl ptCount="56" formatCode="General" name="Number of Locations">
          <cx:pt idx="0">8</cx:pt>
          <cx:pt idx="1">7</cx:pt>
          <cx:pt idx="2">9</cx:pt>
          <cx:pt idx="3">6</cx:pt>
          <cx:pt idx="4">10</cx:pt>
          <cx:pt idx="5">5</cx:pt>
          <cx:pt idx="6">27</cx:pt>
          <cx:pt idx="7">8</cx:pt>
          <cx:pt idx="8">3</cx:pt>
          <cx:pt idx="9">9</cx:pt>
          <cx:pt idx="10">34</cx:pt>
          <cx:pt idx="11">22</cx:pt>
          <cx:pt idx="12">3</cx:pt>
          <cx:pt idx="13">1</cx:pt>
          <cx:pt idx="14">2</cx:pt>
          <cx:pt idx="15">5</cx:pt>
          <cx:pt idx="16">8</cx:pt>
          <cx:pt idx="17">17</cx:pt>
          <cx:pt idx="18">20</cx:pt>
          <cx:pt idx="19">7</cx:pt>
          <cx:pt idx="20">2</cx:pt>
        </cx:lvl>
      </cx:numDim>
    </cx:data>
  </cx:chartData>
  <cx:chart>
    <cx:plotArea>
      <cx:plotAreaRegion>
        <cx:series layoutId="regionMap" uniqueId="{B3E3BA6A-EE28-4708-98BD-94BE4D2415E1}">
          <cx:tx>
            <cx:txData>
              <cx:f/>
              <cx:v># of Locations</cx:v>
            </cx:txData>
          </cx:tx>
          <cx:dataId val="0"/>
          <cx:layoutPr>
            <cx:geography cultureLanguage="en-US" cultureRegion="CA" attribution="Powered by Bing">
              <cx:geoCache provider="{E9337A44-BEBE-4D9F-B70C-5C5E7DAFC167}">
                <cx:binary>BMFRCoAgDADQq4gHcBV9SXUXWTMFdeEG7fi9d6BFbJSms96GRLTTF9U3AggW6klCrzhZOGtA7sA5
VyS4Z/rqeGBb1h2wpKlk3sH1AwAA//8=</cx:binary>
              </cx:geoCache>
            </cx:geography>
          </cx:layoutPr>
        </cx:series>
      </cx:plotAreaRegion>
    </cx:plotArea>
    <cx:legend pos="r" align="ctr" overlay="0">
      <cx:txPr>
        <a:bodyPr spcFirstLastPara="1" vertOverflow="ellipsis" horzOverflow="overflow" wrap="square" lIns="0" tIns="0" rIns="0" bIns="0" anchor="ctr" anchorCtr="1"/>
        <a:lstStyle/>
        <a:p>
          <a:pPr algn="just" rtl="0">
            <a:defRPr sz="900">
              <a:solidFill>
                <a:schemeClr val="tx1"/>
              </a:solidFill>
            </a:defRPr>
          </a:pPr>
          <a:endParaRPr lang="en-US" sz="900" b="0" i="0" u="none" strike="noStrike" baseline="0">
            <a:solidFill>
              <a:schemeClr val="tx1"/>
            </a:solidFill>
            <a:latin typeface="Arial" panose="020B0604020202020204"/>
          </a:endParaRPr>
        </a:p>
      </cx:txPr>
    </cx:legend>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4</cx:f>
        <cx:lvl ptCount="3">
          <cx:pt idx="0">Current Share Price</cx:pt>
          <cx:pt idx="1">Implied Upside</cx:pt>
          <cx:pt idx="2">Implied Share Price</cx:pt>
        </cx:lvl>
      </cx:strDim>
      <cx:numDim type="val">
        <cx:f>Sheet1!$B$2:$B$4</cx:f>
        <cx:lvl ptCount="3" formatCode="&quot;$&quot;#,##0.00">
          <cx:pt idx="0">122.84</cx:pt>
          <cx:pt idx="1">34.799999999999997</cx:pt>
          <cx:pt idx="2">-157.63999999999999</cx:pt>
        </cx:lvl>
      </cx:numDim>
    </cx:data>
  </cx:chartData>
  <cx:chart>
    <cx:plotArea>
      <cx:plotAreaRegion>
        <cx:series layoutId="waterfall" uniqueId="{7EDAFDB8-311E-49FF-B7E4-BD3F5A6B36B2}">
          <cx:tx>
            <cx:txData>
              <cx:f>Sheet1!$B$1</cx:f>
              <cx:v>Series1</cx:v>
            </cx:txData>
          </cx:tx>
          <cx:dataId val="0"/>
          <cx:layoutPr>
            <cx:subtotals>
              <cx:idx val="0"/>
            </cx:subtotals>
          </cx:layoutPr>
        </cx:series>
      </cx:plotAreaRegion>
      <cx:axis id="0">
        <cx:catScaling gapWidth="0.5"/>
        <cx:majorTickMarks type="out"/>
        <cx:tickLabels/>
        <cx:spPr>
          <a:ln>
            <a:solidFill>
              <a:schemeClr val="tx1"/>
            </a:solidFill>
          </a:ln>
        </cx:spPr>
        <cx:txPr>
          <a:bodyPr spcFirstLastPara="1" vertOverflow="ellipsis" horzOverflow="overflow" wrap="square" lIns="0" tIns="0" rIns="0" bIns="0" anchor="ctr" anchorCtr="1"/>
          <a:lstStyle/>
          <a:p>
            <a:pPr algn="ctr" rtl="0">
              <a:defRPr sz="800">
                <a:solidFill>
                  <a:schemeClr val="tx1"/>
                </a:solidFill>
              </a:defRPr>
            </a:pPr>
            <a:endParaRPr lang="en-US" sz="800" b="0" i="0" u="none" strike="noStrike" baseline="0">
              <a:solidFill>
                <a:schemeClr val="tx1"/>
              </a:solidFill>
              <a:latin typeface="Arial" panose="020B0604020202020204"/>
            </a:endParaRPr>
          </a:p>
        </cx:txPr>
      </cx:axis>
      <cx:axis id="1">
        <cx:valScaling/>
        <cx:majorTickMarks type="out"/>
        <cx:tickLabels/>
        <cx:spPr>
          <a:ln>
            <a:solidFill>
              <a:schemeClr val="tx1"/>
            </a:solidFill>
          </a:ln>
        </cx:spPr>
        <cx:txPr>
          <a:bodyPr spcFirstLastPara="1" vertOverflow="ellipsis" horzOverflow="overflow" wrap="square" lIns="0" tIns="0" rIns="0" bIns="0" anchor="ctr" anchorCtr="1"/>
          <a:lstStyle/>
          <a:p>
            <a:pPr algn="ctr" rtl="0">
              <a:defRPr sz="900">
                <a:solidFill>
                  <a:schemeClr val="tx1"/>
                </a:solidFill>
              </a:defRPr>
            </a:pPr>
            <a:endParaRPr lang="en-US" sz="900" b="0" i="0" u="none" strike="noStrike" baseline="0">
              <a:solidFill>
                <a:schemeClr val="tx1"/>
              </a:solidFill>
              <a:latin typeface="Arial" panose="020B0604020202020204"/>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3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15_9BC3CC5B.xml><?xml version="1.0" encoding="utf-8"?>
<p188:cmLst xmlns:a="http://schemas.openxmlformats.org/drawingml/2006/main" xmlns:r="http://schemas.openxmlformats.org/officeDocument/2006/relationships" xmlns:p188="http://schemas.microsoft.com/office/powerpoint/2018/8/main">
  <p188:cm id="{F7CA87E0-29F0-4457-8F7F-C8D4FDBD13A4}" authorId="{3B3BEF54-F0B7-0FFE-2FAD-168DFD18B6CE}" status="resolved" created="2024-12-01T21:27:02.699" complete="100000">
    <ac:deMkLst xmlns:ac="http://schemas.microsoft.com/office/drawing/2013/main/command">
      <pc:docMk xmlns:pc="http://schemas.microsoft.com/office/powerpoint/2013/main/command"/>
      <pc:sldMk xmlns:pc="http://schemas.microsoft.com/office/powerpoint/2013/main/command" cId="2613300315" sldId="277"/>
      <ac:graphicFrameMk id="16" creationId="{AFA96ADB-BD29-78CF-F180-1FD93F035922}"/>
    </ac:deMkLst>
    <p188:replyLst>
      <p188:reply id="{0AD7A750-C3B3-4447-9CC1-B54BE617DEC5}" authorId="{3B3BEF54-F0B7-0FFE-2FAD-168DFD18B6CE}" created="2024-12-01T21:27:22.817">
        <p188:txBody>
          <a:bodyPr/>
          <a:lstStyle/>
          <a:p>
            <a:r>
              <a:rPr lang="en-CA"/>
              <a:t>The 20% data label should have two decimal places, to be consistent with the rest</a:t>
            </a:r>
          </a:p>
        </p188:txBody>
      </p188:reply>
    </p188:replyLst>
    <p188:txBody>
      <a:bodyPr/>
      <a:lstStyle/>
      <a:p>
        <a:r>
          <a:rPr lang="en-CA"/>
          <a:t>Format</a:t>
        </a:r>
      </a:p>
    </p188:txBody>
  </p188:cm>
</p188:cmLst>
</file>

<file path=ppt/comments/modernComment_116_D51F26B7.xml><?xml version="1.0" encoding="utf-8"?>
<p188:cmLst xmlns:a="http://schemas.openxmlformats.org/drawingml/2006/main" xmlns:r="http://schemas.openxmlformats.org/officeDocument/2006/relationships" xmlns:p188="http://schemas.microsoft.com/office/powerpoint/2018/8/main">
  <p188:cm id="{A8CCE6FA-A2CC-4F67-B929-76ADBF4584CC}" authorId="{3B3BEF54-F0B7-0FFE-2FAD-168DFD18B6CE}" status="resolved" created="2024-12-01T21:30:09.450" complete="100000">
    <ac:deMkLst xmlns:ac="http://schemas.microsoft.com/office/drawing/2013/main/command">
      <pc:docMk xmlns:pc="http://schemas.microsoft.com/office/powerpoint/2013/main/command"/>
      <pc:sldMk xmlns:pc="http://schemas.microsoft.com/office/powerpoint/2013/main/command" cId="3575588535" sldId="278"/>
      <ac:graphicFrameMk id="15" creationId="{AFA634B6-FFEF-BB98-E515-51CD713B59A5}"/>
    </ac:deMkLst>
    <p188:txBody>
      <a:bodyPr/>
      <a:lstStyle/>
      <a:p>
        <a:r>
          <a:rPr lang="en-CA"/>
          <a:t>Negative figures in brackets. If your data labels are in two decimal places, so should be your axis</a:t>
        </a:r>
      </a:p>
    </p188:txBody>
  </p188:cm>
  <p188:cm id="{F3536DDC-E874-4466-AD35-F3B75611CEB3}" authorId="{3B3BEF54-F0B7-0FFE-2FAD-168DFD18B6CE}" status="resolved" created="2024-12-01T21:30:25.301" complete="100000">
    <ac:deMkLst xmlns:ac="http://schemas.microsoft.com/office/drawing/2013/main/command">
      <pc:docMk xmlns:pc="http://schemas.microsoft.com/office/powerpoint/2013/main/command"/>
      <pc:sldMk xmlns:pc="http://schemas.microsoft.com/office/powerpoint/2013/main/command" cId="3575588535" sldId="278"/>
      <ac:graphicFrameMk id="21" creationId="{F380039E-7D26-134B-54A4-67D0F9DE8393}"/>
    </ac:deMkLst>
    <p188:txBody>
      <a:bodyPr/>
      <a:lstStyle/>
      <a:p>
        <a:r>
          <a:rPr lang="en-CA"/>
          <a:t>X axis is in blue, change to black</a:t>
        </a:r>
      </a:p>
    </p188:txBody>
  </p188:cm>
</p188:cmLst>
</file>

<file path=ppt/comments/modernComment_11E_42B1A721.xml><?xml version="1.0" encoding="utf-8"?>
<p188:cmLst xmlns:a="http://schemas.openxmlformats.org/drawingml/2006/main" xmlns:r="http://schemas.openxmlformats.org/officeDocument/2006/relationships" xmlns:p188="http://schemas.microsoft.com/office/powerpoint/2018/8/main">
  <p188:cm id="{D7946512-49BB-441B-BBFB-DDEECE0CD252}" authorId="{3B3BEF54-F0B7-0FFE-2FAD-168DFD18B6CE}" status="resolved" created="2024-12-01T21:32:48.940" complete="100000">
    <ac:deMkLst xmlns:ac="http://schemas.microsoft.com/office/drawing/2013/main/command">
      <pc:docMk xmlns:pc="http://schemas.microsoft.com/office/powerpoint/2013/main/command"/>
      <pc:sldMk xmlns:pc="http://schemas.microsoft.com/office/powerpoint/2013/main/command" cId="1118938913" sldId="286"/>
      <ac:graphicFrameMk id="17" creationId="{C5051289-4559-0BBC-8638-94195085D234}"/>
    </ac:deMkLst>
    <p188:txBody>
      <a:bodyPr/>
      <a:lstStyle/>
      <a:p>
        <a:r>
          <a:rPr lang="en-CA"/>
          <a:t>Text in black</a:t>
        </a:r>
      </a:p>
    </p188:txBody>
  </p188:cm>
  <p188:cm id="{4166E1DE-1507-4B75-B81B-9DEA6BDB4D34}" authorId="{3B3BEF54-F0B7-0FFE-2FAD-168DFD18B6CE}" status="resolved" created="2024-12-01T21:32:55.736" complete="100000">
    <ac:deMkLst xmlns:ac="http://schemas.microsoft.com/office/drawing/2013/main/command">
      <pc:docMk xmlns:pc="http://schemas.microsoft.com/office/powerpoint/2013/main/command"/>
      <pc:sldMk xmlns:pc="http://schemas.microsoft.com/office/powerpoint/2013/main/command" cId="1118938913" sldId="286"/>
      <ac:graphicFrameMk id="36" creationId="{79824EBE-778B-451F-7A41-FB3CFAC35A50}"/>
    </ac:deMkLst>
    <p188:txBody>
      <a:bodyPr/>
      <a:lstStyle/>
      <a:p>
        <a:r>
          <a:rPr lang="en-CA"/>
          <a:t>Text in black</a:t>
        </a:r>
      </a:p>
    </p188:txBody>
  </p188:cm>
</p188:cmLst>
</file>

<file path=ppt/comments/modernComment_19B_848837AC.xml><?xml version="1.0" encoding="utf-8"?>
<p188:cmLst xmlns:a="http://schemas.openxmlformats.org/drawingml/2006/main" xmlns:r="http://schemas.openxmlformats.org/officeDocument/2006/relationships" xmlns:p188="http://schemas.microsoft.com/office/powerpoint/2018/8/main">
  <p188:cm id="{3161D224-7520-4865-BC79-A208E177AAC6}" authorId="{3B3BEF54-F0B7-0FFE-2FAD-168DFD18B6CE}" status="resolved" created="2024-12-01T21:10:31.786" complete="100000">
    <ac:deMkLst xmlns:ac="http://schemas.microsoft.com/office/drawing/2013/main/command">
      <pc:docMk xmlns:pc="http://schemas.microsoft.com/office/powerpoint/2013/main/command"/>
      <pc:sldMk xmlns:pc="http://schemas.microsoft.com/office/powerpoint/2013/main/command" cId="2223519660" sldId="411"/>
      <ac:graphicFrameMk id="4" creationId="{BD964CE3-8288-03AC-048F-3470305213CA}"/>
    </ac:deMkLst>
    <p188:replyLst>
      <p188:reply id="{39F9CFDD-83CF-47A8-B37E-D1CB19E1F70F}" authorId="{3B3BEF54-F0B7-0FFE-2FAD-168DFD18B6CE}" created="2024-12-01T21:10:48.267">
        <p188:txBody>
          <a:bodyPr/>
          <a:lstStyle/>
          <a:p>
            <a:r>
              <a:rPr lang="en-CA"/>
              <a:t>Try to get the last date in there on the x axis</a:t>
            </a:r>
          </a:p>
        </p188:txBody>
      </p188:reply>
    </p188:replyLst>
    <p188:txBody>
      <a:bodyPr/>
      <a:lstStyle/>
      <a:p>
        <a:r>
          <a:rPr lang="en-CA"/>
          <a:t>Negative percentage on the y axis in brackets</a:t>
        </a:r>
      </a:p>
    </p188:txBody>
  </p188:cm>
</p188:cmLst>
</file>

<file path=ppt/comments/modernComment_1A9_A322723D.xml><?xml version="1.0" encoding="utf-8"?>
<p188:cmLst xmlns:a="http://schemas.openxmlformats.org/drawingml/2006/main" xmlns:r="http://schemas.openxmlformats.org/officeDocument/2006/relationships" xmlns:p188="http://schemas.microsoft.com/office/powerpoint/2018/8/main">
  <p188:cm id="{858C5058-DD6A-4B01-8308-CCE169EE551C}" authorId="{3B3BEF54-F0B7-0FFE-2FAD-168DFD18B6CE}" status="resolved" created="2024-12-01T21:34:31.769" complete="100000">
    <ac:deMkLst xmlns:ac="http://schemas.microsoft.com/office/drawing/2013/main/command">
      <pc:docMk xmlns:pc="http://schemas.microsoft.com/office/powerpoint/2013/main/command"/>
      <pc:sldMk xmlns:pc="http://schemas.microsoft.com/office/powerpoint/2013/main/command" cId="2736943677" sldId="425"/>
      <ac:graphicFrameMk id="27" creationId="{B97EF53B-B18E-BA94-7A63-17ABE8934BCB}"/>
    </ac:deMkLst>
    <p188:txBody>
      <a:bodyPr/>
      <a:lstStyle/>
      <a:p>
        <a:r>
          <a:rPr lang="en-CA"/>
          <a:t>Should be in arial</a:t>
        </a:r>
      </a:p>
    </p188:txBody>
  </p188:cm>
  <p188:cm id="{F153016C-7DE0-4C5C-B3BC-FDEF2330E020}" authorId="{3B3BEF54-F0B7-0FFE-2FAD-168DFD18B6CE}" status="resolved" created="2024-12-01T21:34:41.676" complete="100000">
    <ac:deMkLst xmlns:ac="http://schemas.microsoft.com/office/drawing/2013/main/command">
      <pc:docMk xmlns:pc="http://schemas.microsoft.com/office/powerpoint/2013/main/command"/>
      <pc:sldMk xmlns:pc="http://schemas.microsoft.com/office/powerpoint/2013/main/command" cId="2736943677" sldId="425"/>
      <ac:graphicFrameMk id="20" creationId="{06AA7240-8F07-5155-393C-44CE3570882E}"/>
    </ac:deMkLst>
    <p188:txBody>
      <a:bodyPr/>
      <a:lstStyle/>
      <a:p>
        <a:r>
          <a:rPr lang="en-CA"/>
          <a:t>Same comment about the cell colours</a:t>
        </a:r>
      </a:p>
    </p188:txBody>
  </p188:cm>
</p188:cmLst>
</file>

<file path=ppt/comments/modernComment_1AB_FE6E8340.xml><?xml version="1.0" encoding="utf-8"?>
<p188:cmLst xmlns:a="http://schemas.openxmlformats.org/drawingml/2006/main" xmlns:r="http://schemas.openxmlformats.org/officeDocument/2006/relationships" xmlns:p188="http://schemas.microsoft.com/office/powerpoint/2018/8/main">
  <p188:cm id="{78AC76E9-ED46-4F95-9611-725617190440}" authorId="{3B3BEF54-F0B7-0FFE-2FAD-168DFD18B6CE}" status="resolved" created="2024-12-01T21:14:41.203" complete="100000">
    <ac:deMkLst xmlns:ac="http://schemas.microsoft.com/office/drawing/2013/main/command">
      <pc:docMk xmlns:pc="http://schemas.microsoft.com/office/powerpoint/2013/main/command"/>
      <pc:sldMk xmlns:pc="http://schemas.microsoft.com/office/powerpoint/2013/main/command" cId="4268655424" sldId="427"/>
      <ac:graphicFrameMk id="11" creationId="{D9CA7A16-2B0B-D524-3350-54796BE875E4}"/>
    </ac:deMkLst>
    <p188:txBody>
      <a:bodyPr/>
      <a:lstStyle/>
      <a:p>
        <a:r>
          <a:rPr lang="en-CA"/>
          <a:t>Size 9, arial, in black</a:t>
        </a:r>
      </a:p>
    </p188:txBody>
  </p188:cm>
</p188:cmLst>
</file>

<file path=ppt/comments/modernComment_1AD_1A3A4A7.xml><?xml version="1.0" encoding="utf-8"?>
<p188:cmLst xmlns:a="http://schemas.openxmlformats.org/drawingml/2006/main" xmlns:r="http://schemas.openxmlformats.org/officeDocument/2006/relationships" xmlns:p188="http://schemas.microsoft.com/office/powerpoint/2018/8/main">
  <p188:cm id="{52A48349-865A-4055-BFD7-D5664048F590}" authorId="{3B3BEF54-F0B7-0FFE-2FAD-168DFD18B6CE}" status="resolved" created="2024-12-01T21:16:50.805" complete="100000">
    <ac:deMkLst xmlns:ac="http://schemas.microsoft.com/office/drawing/2013/main/command">
      <pc:docMk xmlns:pc="http://schemas.microsoft.com/office/powerpoint/2013/main/command"/>
      <pc:sldMk xmlns:pc="http://schemas.microsoft.com/office/powerpoint/2013/main/command" cId="27501735" sldId="429"/>
      <ac:graphicFrameMk id="13" creationId="{FC85C619-345E-F7ED-8CC0-A56C19AF3316}"/>
    </ac:deMkLst>
    <p188:txBody>
      <a:bodyPr/>
      <a:lstStyle/>
      <a:p>
        <a:r>
          <a:rPr lang="en-CA"/>
          <a:t>Don’t box the data labels, make the text black</a:t>
        </a:r>
      </a:p>
    </p188:txBody>
  </p188:cm>
</p188:cmLst>
</file>

<file path=ppt/comments/modernComment_1AE_6F744570.xml><?xml version="1.0" encoding="utf-8"?>
<p188:cmLst xmlns:a="http://schemas.openxmlformats.org/drawingml/2006/main" xmlns:r="http://schemas.openxmlformats.org/officeDocument/2006/relationships" xmlns:p188="http://schemas.microsoft.com/office/powerpoint/2018/8/main">
  <p188:cm id="{BC7B0B4F-4F59-41BD-BAA5-2B112FCB22A9}" authorId="{3B3BEF54-F0B7-0FFE-2FAD-168DFD18B6CE}" status="resolved" created="2024-12-01T21:22:51.789" complete="100000">
    <ac:deMkLst xmlns:ac="http://schemas.microsoft.com/office/drawing/2013/main/command">
      <pc:docMk xmlns:pc="http://schemas.microsoft.com/office/powerpoint/2013/main/command"/>
      <pc:sldMk xmlns:pc="http://schemas.microsoft.com/office/powerpoint/2013/main/command" cId="1869890928" sldId="430"/>
      <ac:graphicFrameMk id="17" creationId="{ABF0FF7F-0F40-3AC5-CCE2-46592D2391B5}"/>
    </ac:deMkLst>
    <p188:txBody>
      <a:bodyPr/>
      <a:lstStyle/>
      <a:p>
        <a:r>
          <a:rPr lang="en-CA"/>
          <a:t>Text in black</a:t>
        </a:r>
      </a:p>
    </p188:txBody>
  </p188:cm>
  <p188:cm id="{3D0343AD-CE42-4CE2-AF37-CFF01294A8AC}" authorId="{3B3BEF54-F0B7-0FFE-2FAD-168DFD18B6CE}" status="resolved" created="2024-12-01T21:24:29.970" complete="100000">
    <ac:deMkLst xmlns:ac="http://schemas.microsoft.com/office/drawing/2013/main/command">
      <pc:docMk xmlns:pc="http://schemas.microsoft.com/office/powerpoint/2013/main/command"/>
      <pc:sldMk xmlns:pc="http://schemas.microsoft.com/office/powerpoint/2013/main/command" cId="1869890928" sldId="430"/>
      <ac:graphicFrameMk id="22" creationId="{02C1F3EE-3449-131E-11B0-2560F09D076C}"/>
    </ac:deMkLst>
    <p188:txBody>
      <a:bodyPr/>
      <a:lstStyle/>
      <a:p>
        <a:r>
          <a:rPr lang="en-CA"/>
          <a:t>Text in black</a:t>
        </a:r>
      </a:p>
    </p188:txBody>
  </p188:cm>
</p188:cmLst>
</file>

<file path=ppt/comments/modernComment_1B0_61AEB8FE.xml><?xml version="1.0" encoding="utf-8"?>
<p188:cmLst xmlns:a="http://schemas.openxmlformats.org/drawingml/2006/main" xmlns:r="http://schemas.openxmlformats.org/officeDocument/2006/relationships" xmlns:p188="http://schemas.microsoft.com/office/powerpoint/2018/8/main">
  <p188:cm id="{794B952F-57B7-47F0-A7F6-E28AF611ED26}" authorId="{3B3BEF54-F0B7-0FFE-2FAD-168DFD18B6CE}" status="resolved" created="2024-12-01T21:12:13.631" complete="100000">
    <ac:deMkLst xmlns:ac="http://schemas.microsoft.com/office/drawing/2013/main/command">
      <pc:docMk xmlns:pc="http://schemas.microsoft.com/office/powerpoint/2013/main/command"/>
      <pc:sldMk xmlns:pc="http://schemas.microsoft.com/office/powerpoint/2013/main/command" cId="1638840574" sldId="432"/>
      <ac:spMk id="6" creationId="{043CFCED-5654-B475-46DC-2E637BA4F3EA}"/>
    </ac:deMkLst>
    <p188:txBody>
      <a:bodyPr/>
      <a:lstStyle/>
      <a:p>
        <a:r>
          <a:rPr lang="en-CA"/>
          <a:t>You should have a sentence that starts with “Addus Homecare generates revenue through…”</a:t>
        </a:r>
      </a:p>
    </p188:txBody>
  </p188:cm>
  <p188:cm id="{45890938-0740-4BC1-8647-C910BB65CA90}" authorId="{3B3BEF54-F0B7-0FFE-2FAD-168DFD18B6CE}" status="resolved" created="2024-12-01T21:12:40.261" complete="100000">
    <ac:deMkLst xmlns:ac="http://schemas.microsoft.com/office/drawing/2013/main/command">
      <pc:docMk xmlns:pc="http://schemas.microsoft.com/office/powerpoint/2013/main/command"/>
      <pc:sldMk xmlns:pc="http://schemas.microsoft.com/office/powerpoint/2013/main/command" cId="1638840574" sldId="432"/>
      <ac:graphicFrameMk id="20" creationId="{08A0144E-9A8B-9401-1019-4F6F79DE1712}"/>
    </ac:deMkLst>
    <p188:txBody>
      <a:bodyPr/>
      <a:lstStyle/>
      <a:p>
        <a:r>
          <a:rPr lang="en-CA"/>
          <a:t>Text should be in black, size 9 font, and your x axis is in blue instead of black</a:t>
        </a:r>
      </a:p>
    </p188:txBody>
  </p188:cm>
  <p188:cm id="{D9590073-A76F-4687-A691-7D72AE9722E1}" authorId="{3B3BEF54-F0B7-0FFE-2FAD-168DFD18B6CE}" status="resolved" created="2024-12-01T21:13:12.144" complete="100000">
    <ac:txMkLst xmlns:ac="http://schemas.microsoft.com/office/drawing/2013/main/command">
      <pc:docMk xmlns:pc="http://schemas.microsoft.com/office/powerpoint/2013/main/command"/>
      <pc:sldMk xmlns:pc="http://schemas.microsoft.com/office/powerpoint/2013/main/command" cId="1638840574" sldId="432"/>
      <ac:spMk id="10" creationId="{0F58E024-7634-078E-C694-BF84CCA6344F}"/>
      <ac:txMk cp="0">
        <ac:context len="680" hash="3126325710"/>
      </ac:txMk>
    </ac:txMkLst>
    <p188:pos x="3970655" y="228886"/>
    <p188:txBody>
      <a:bodyPr/>
      <a:lstStyle/>
      <a:p>
        <a:r>
          <a:rPr lang="en-CA"/>
          <a:t>Grammar</a:t>
        </a:r>
      </a:p>
    </p188:txBody>
  </p188:cm>
  <p188:cm id="{E4B61505-5A42-40E9-B6A8-8C7014D5830D}" authorId="{3B3BEF54-F0B7-0FFE-2FAD-168DFD18B6CE}" status="resolved" created="2024-12-01T21:13:25.506" complete="100000">
    <ac:txMkLst xmlns:ac="http://schemas.microsoft.com/office/drawing/2013/main/command">
      <pc:docMk xmlns:pc="http://schemas.microsoft.com/office/powerpoint/2013/main/command"/>
      <pc:sldMk xmlns:pc="http://schemas.microsoft.com/office/powerpoint/2013/main/command" cId="1638840574" sldId="432"/>
      <ac:spMk id="10" creationId="{0F58E024-7634-078E-C694-BF84CCA6344F}"/>
      <ac:txMk cp="133" len="7">
        <ac:context len="680" hash="3126325710"/>
      </ac:txMk>
    </ac:txMkLst>
    <p188:pos x="1212215" y="472726"/>
    <p188:txBody>
      <a:bodyPr/>
      <a:lstStyle/>
      <a:p>
        <a:r>
          <a:rPr lang="en-CA"/>
          <a:t>Capital H</a:t>
        </a:r>
      </a:p>
    </p188:txBody>
  </p188:cm>
  <p188:cm id="{DAA6FCC5-B2BE-425B-B1A2-B537E3506F54}" authorId="{3B3BEF54-F0B7-0FFE-2FAD-168DFD18B6CE}" status="resolved" created="2024-12-01T21:14:01.808" complete="100000">
    <ac:txMkLst xmlns:ac="http://schemas.microsoft.com/office/drawing/2013/main/command">
      <pc:docMk xmlns:pc="http://schemas.microsoft.com/office/powerpoint/2013/main/command"/>
      <pc:sldMk xmlns:pc="http://schemas.microsoft.com/office/powerpoint/2013/main/command" cId="1638840574" sldId="432"/>
      <ac:spMk id="10" creationId="{0F58E024-7634-078E-C694-BF84CCA6344F}"/>
      <ac:txMk cp="342" len="3">
        <ac:context len="680" hash="3126325710"/>
      </ac:txMk>
    </ac:txMkLst>
    <p188:pos x="564515" y="968026"/>
    <p188:txBody>
      <a:bodyPr/>
      <a:lstStyle/>
      <a:p>
        <a:r>
          <a:rPr lang="en-CA"/>
          <a:t>Need to start your sentence with a capital</a:t>
        </a:r>
      </a:p>
    </p188:txBody>
  </p188:cm>
</p188:cmLst>
</file>

<file path=ppt/comments/modernComment_1B1_6D9D658B.xml><?xml version="1.0" encoding="utf-8"?>
<p188:cmLst xmlns:a="http://schemas.openxmlformats.org/drawingml/2006/main" xmlns:r="http://schemas.openxmlformats.org/officeDocument/2006/relationships" xmlns:p188="http://schemas.microsoft.com/office/powerpoint/2018/8/main">
  <p188:cm id="{702B2C45-09D9-4AD3-9F33-201500AA6ABC}" authorId="{3B3BEF54-F0B7-0FFE-2FAD-168DFD18B6CE}" status="resolved" created="2024-12-01T21:25:57.272" complete="100000">
    <ac:deMkLst xmlns:ac="http://schemas.microsoft.com/office/drawing/2013/main/command">
      <pc:docMk xmlns:pc="http://schemas.microsoft.com/office/powerpoint/2013/main/command"/>
      <pc:sldMk xmlns:pc="http://schemas.microsoft.com/office/powerpoint/2013/main/command" cId="1839031691" sldId="433"/>
      <ac:graphicFrameMk id="12" creationId="{7D9C1508-F5FC-AE76-940B-B984C67F82AA}"/>
    </ac:deMkLst>
    <p188:txBody>
      <a:bodyPr/>
      <a:lstStyle/>
      <a:p>
        <a:r>
          <a:rPr lang="en-CA"/>
          <a:t>Text in black</a:t>
        </a:r>
      </a:p>
    </p188:txBody>
  </p188:cm>
</p188:cmLst>
</file>

<file path=ppt/comments/modernComment_1B2_36C863C3.xml><?xml version="1.0" encoding="utf-8"?>
<p188:cmLst xmlns:a="http://schemas.openxmlformats.org/drawingml/2006/main" xmlns:r="http://schemas.openxmlformats.org/officeDocument/2006/relationships" xmlns:p188="http://schemas.microsoft.com/office/powerpoint/2018/8/main">
  <p188:cm id="{300CA046-135B-4CEA-9EDE-750DE1B3B28E}" authorId="{3B3BEF54-F0B7-0FFE-2FAD-168DFD18B6CE}" status="resolved" created="2024-12-01T21:24:45.857" complete="100000">
    <ac:deMkLst xmlns:ac="http://schemas.microsoft.com/office/drawing/2013/main/command">
      <pc:docMk xmlns:pc="http://schemas.microsoft.com/office/powerpoint/2013/main/command"/>
      <pc:sldMk xmlns:pc="http://schemas.microsoft.com/office/powerpoint/2013/main/command" cId="919102403" sldId="434"/>
      <ac:graphicFrameMk id="18" creationId="{89D011BB-FF10-5B16-E185-B8080C4064AE}"/>
    </ac:deMkLst>
    <p188:txBody>
      <a:bodyPr/>
      <a:lstStyle/>
      <a:p>
        <a:r>
          <a:rPr lang="en-CA"/>
          <a:t>Text in black</a:t>
        </a:r>
      </a:p>
    </p188:txBody>
  </p188:cm>
  <p188:cm id="{2ED1E70C-2C57-431C-B596-EE968991EDC0}" authorId="{3B3BEF54-F0B7-0FFE-2FAD-168DFD18B6CE}" status="resolved" created="2024-12-01T21:25:10.948" complete="100000">
    <ac:deMkLst xmlns:ac="http://schemas.microsoft.com/office/drawing/2013/main/command">
      <pc:docMk xmlns:pc="http://schemas.microsoft.com/office/powerpoint/2013/main/command"/>
      <pc:sldMk xmlns:pc="http://schemas.microsoft.com/office/powerpoint/2013/main/command" cId="919102403" sldId="434"/>
      <ac:graphicFrameMk id="21" creationId="{353B6797-2FFA-1EF4-3F91-C7710BFE23FB}"/>
    </ac:deMkLst>
    <p188:txBody>
      <a:bodyPr/>
      <a:lstStyle/>
      <a:p>
        <a:r>
          <a:rPr lang="en-CA"/>
          <a:t>Fix data label callout, doesn’t look professional. Make it the simple line that pops out</a:t>
        </a:r>
      </a:p>
    </p188:txBody>
  </p188:cm>
</p188:cmLst>
</file>

<file path=ppt/drawings/drawing1.xml><?xml version="1.0" encoding="utf-8"?>
<c:userShapes xmlns:c="http://schemas.openxmlformats.org/drawingml/2006/chart">
  <cdr:relSizeAnchor xmlns:cdr="http://schemas.openxmlformats.org/drawingml/2006/chartDrawing">
    <cdr:from>
      <cdr:x>0.37708</cdr:x>
      <cdr:y>0.11516</cdr:y>
    </cdr:from>
    <cdr:to>
      <cdr:x>0.71619</cdr:x>
      <cdr:y>0.30274</cdr:y>
    </cdr:to>
    <cdr:sp macro="" textlink="">
      <cdr:nvSpPr>
        <cdr:cNvPr id="2" name="TextBox 1">
          <a:extLst xmlns:a="http://schemas.openxmlformats.org/drawingml/2006/main">
            <a:ext uri="{FF2B5EF4-FFF2-40B4-BE49-F238E27FC236}">
              <a16:creationId xmlns:a16="http://schemas.microsoft.com/office/drawing/2014/main" id="{B1EF146A-BAC5-B7CC-FC71-3647F59091B5}"/>
            </a:ext>
          </a:extLst>
        </cdr:cNvPr>
        <cdr:cNvSpPr txBox="1"/>
      </cdr:nvSpPr>
      <cdr:spPr>
        <a:xfrm xmlns:a="http://schemas.openxmlformats.org/drawingml/2006/main" rot="20692264">
          <a:off x="1561788" y="250818"/>
          <a:ext cx="1404521" cy="40855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CA" sz="900" kern="1200" dirty="0"/>
            <a:t>10.29% CAGR</a:t>
          </a:r>
        </a:p>
      </cdr:txBody>
    </cdr:sp>
  </cdr:relSizeAnchor>
</c:userShapes>
</file>

<file path=ppt/drawings/drawing2.xml><?xml version="1.0" encoding="utf-8"?>
<c:userShapes xmlns:c="http://schemas.openxmlformats.org/drawingml/2006/chart">
  <cdr:relSizeAnchor xmlns:cdr="http://schemas.openxmlformats.org/drawingml/2006/chartDrawing">
    <cdr:from>
      <cdr:x>0.54864</cdr:x>
      <cdr:y>0.08409</cdr:y>
    </cdr:from>
    <cdr:to>
      <cdr:x>0.93133</cdr:x>
      <cdr:y>0.08409</cdr:y>
    </cdr:to>
    <cdr:cxnSp macro="">
      <cdr:nvCxnSpPr>
        <cdr:cNvPr id="6" name="Straight Connector 5">
          <a:extLst xmlns:a="http://schemas.openxmlformats.org/drawingml/2006/main">
            <a:ext uri="{FF2B5EF4-FFF2-40B4-BE49-F238E27FC236}">
              <a16:creationId xmlns:a16="http://schemas.microsoft.com/office/drawing/2014/main" id="{EAD735FE-20AC-ECB7-1B3B-86B7199DFC44}"/>
            </a:ext>
          </a:extLst>
        </cdr:cNvPr>
        <cdr:cNvCxnSpPr>
          <a:cxnSpLocks xmlns:a="http://schemas.openxmlformats.org/drawingml/2006/main"/>
        </cdr:cNvCxnSpPr>
      </cdr:nvCxnSpPr>
      <cdr:spPr>
        <a:xfrm xmlns:a="http://schemas.openxmlformats.org/drawingml/2006/main" flipH="1">
          <a:off x="2250005" y="183091"/>
          <a:ext cx="1569442" cy="0"/>
        </a:xfrm>
        <a:prstGeom xmlns:a="http://schemas.openxmlformats.org/drawingml/2006/main" prst="line">
          <a:avLst/>
        </a:prstGeom>
        <a:ln xmlns:a="http://schemas.openxmlformats.org/drawingml/2006/main" w="1270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59B053-7477-4699-9DA7-B81FA927272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40C529F-0D61-4970-AB54-64C01783EA4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A2D7AA7-9A86-4D9A-9C38-8D845BC7B88F}" type="datetimeFigureOut">
              <a:rPr lang="en-US" smtClean="0"/>
              <a:t>12/2/2024</a:t>
            </a:fld>
            <a:endParaRPr lang="en-US"/>
          </a:p>
        </p:txBody>
      </p:sp>
      <p:sp>
        <p:nvSpPr>
          <p:cNvPr id="4" name="Footer Placeholder 3">
            <a:extLst>
              <a:ext uri="{FF2B5EF4-FFF2-40B4-BE49-F238E27FC236}">
                <a16:creationId xmlns:a16="http://schemas.microsoft.com/office/drawing/2014/main" id="{91E552FA-A4B4-485E-A87C-2CF3A4646CD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AB725F1-FA01-4E79-9E56-DBA9386D56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511262A-EC40-4F61-9518-B586EF783509}" type="slidenum">
              <a:rPr lang="en-US" smtClean="0"/>
              <a:t>‹#›</a:t>
            </a:fld>
            <a:endParaRPr lang="en-US"/>
          </a:p>
        </p:txBody>
      </p:sp>
    </p:spTree>
    <p:extLst>
      <p:ext uri="{BB962C8B-B14F-4D97-AF65-F5344CB8AC3E}">
        <p14:creationId xmlns:p14="http://schemas.microsoft.com/office/powerpoint/2010/main" val="2222970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353A59-B227-41D8-8D94-CD917939165D}" type="datetimeFigureOut">
              <a:rPr lang="en-US" smtClean="0"/>
              <a:t>12/2/202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C35494-8CBF-4C09-A4C0-5BE8C0257DEC}" type="slidenum">
              <a:rPr lang="en-US" smtClean="0"/>
              <a:t>‹#›</a:t>
            </a:fld>
            <a:endParaRPr lang="en-US"/>
          </a:p>
        </p:txBody>
      </p:sp>
    </p:spTree>
    <p:extLst>
      <p:ext uri="{BB962C8B-B14F-4D97-AF65-F5344CB8AC3E}">
        <p14:creationId xmlns:p14="http://schemas.microsoft.com/office/powerpoint/2010/main" val="2269682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2</a:t>
            </a:fld>
            <a:endParaRPr lang="en-US"/>
          </a:p>
        </p:txBody>
      </p:sp>
    </p:spTree>
    <p:extLst>
      <p:ext uri="{BB962C8B-B14F-4D97-AF65-F5344CB8AC3E}">
        <p14:creationId xmlns:p14="http://schemas.microsoft.com/office/powerpoint/2010/main" val="3798238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3</a:t>
            </a:fld>
            <a:endParaRPr lang="en-US"/>
          </a:p>
        </p:txBody>
      </p:sp>
    </p:spTree>
    <p:extLst>
      <p:ext uri="{BB962C8B-B14F-4D97-AF65-F5344CB8AC3E}">
        <p14:creationId xmlns:p14="http://schemas.microsoft.com/office/powerpoint/2010/main" val="840910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9C488-3AC9-3FB7-4384-BF627D95F4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96B12A-4E5E-AAB7-5493-1C60263D7D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BE96D4-B331-A0FF-67E8-7B5990F28531}"/>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FF156FAD-2015-6CF8-5939-A7F951B3E8D4}"/>
              </a:ext>
            </a:extLst>
          </p:cNvPr>
          <p:cNvSpPr>
            <a:spLocks noGrp="1"/>
          </p:cNvSpPr>
          <p:nvPr>
            <p:ph type="sldNum" sz="quarter" idx="5"/>
          </p:nvPr>
        </p:nvSpPr>
        <p:spPr/>
        <p:txBody>
          <a:bodyPr/>
          <a:lstStyle/>
          <a:p>
            <a:fld id="{D8C35494-8CBF-4C09-A4C0-5BE8C0257DEC}" type="slidenum">
              <a:rPr lang="en-US" smtClean="0"/>
              <a:t>5</a:t>
            </a:fld>
            <a:endParaRPr lang="en-US"/>
          </a:p>
        </p:txBody>
      </p:sp>
    </p:spTree>
    <p:extLst>
      <p:ext uri="{BB962C8B-B14F-4D97-AF65-F5344CB8AC3E}">
        <p14:creationId xmlns:p14="http://schemas.microsoft.com/office/powerpoint/2010/main" val="246143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9</a:t>
            </a:fld>
            <a:endParaRPr lang="en-US"/>
          </a:p>
        </p:txBody>
      </p:sp>
    </p:spTree>
    <p:extLst>
      <p:ext uri="{BB962C8B-B14F-4D97-AF65-F5344CB8AC3E}">
        <p14:creationId xmlns:p14="http://schemas.microsoft.com/office/powerpoint/2010/main" val="1419440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16</a:t>
            </a:fld>
            <a:endParaRPr lang="en-US"/>
          </a:p>
        </p:txBody>
      </p:sp>
    </p:spTree>
    <p:extLst>
      <p:ext uri="{BB962C8B-B14F-4D97-AF65-F5344CB8AC3E}">
        <p14:creationId xmlns:p14="http://schemas.microsoft.com/office/powerpoint/2010/main" val="3111592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2575CF-862A-77FA-2455-6B351C24B4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991837-5604-1E92-54FE-CBFC1A59520D}"/>
              </a:ext>
            </a:extLst>
          </p:cNvPr>
          <p:cNvSpPr>
            <a:spLocks noGrp="1" noRot="1" noChangeAspect="1"/>
          </p:cNvSpPr>
          <p:nvPr>
            <p:ph type="sldImg"/>
          </p:nvPr>
        </p:nvSpPr>
        <p:spPr>
          <a:xfrm>
            <a:off x="1371600" y="1143000"/>
            <a:ext cx="4114800" cy="3086100"/>
          </a:xfrm>
        </p:spPr>
      </p:sp>
      <p:sp>
        <p:nvSpPr>
          <p:cNvPr id="3" name="Notes Placeholder 2">
            <a:extLst>
              <a:ext uri="{FF2B5EF4-FFF2-40B4-BE49-F238E27FC236}">
                <a16:creationId xmlns:a16="http://schemas.microsoft.com/office/drawing/2014/main" id="{CF5EE6C5-96B1-9433-F193-9B83D3DED581}"/>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F460E42F-28EA-903D-2371-39A129C70193}"/>
              </a:ext>
            </a:extLst>
          </p:cNvPr>
          <p:cNvSpPr>
            <a:spLocks noGrp="1"/>
          </p:cNvSpPr>
          <p:nvPr>
            <p:ph type="sldNum" sz="quarter" idx="5"/>
          </p:nvPr>
        </p:nvSpPr>
        <p:spPr/>
        <p:txBody>
          <a:bodyPr/>
          <a:lstStyle/>
          <a:p>
            <a:fld id="{D8C35494-8CBF-4C09-A4C0-5BE8C0257DEC}" type="slidenum">
              <a:rPr lang="en-US" smtClean="0"/>
              <a:t>18</a:t>
            </a:fld>
            <a:endParaRPr lang="en-US"/>
          </a:p>
        </p:txBody>
      </p:sp>
    </p:spTree>
    <p:extLst>
      <p:ext uri="{BB962C8B-B14F-4D97-AF65-F5344CB8AC3E}">
        <p14:creationId xmlns:p14="http://schemas.microsoft.com/office/powerpoint/2010/main" val="42683562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19</a:t>
            </a:fld>
            <a:endParaRPr lang="en-US"/>
          </a:p>
        </p:txBody>
      </p:sp>
    </p:spTree>
    <p:extLst>
      <p:ext uri="{BB962C8B-B14F-4D97-AF65-F5344CB8AC3E}">
        <p14:creationId xmlns:p14="http://schemas.microsoft.com/office/powerpoint/2010/main" val="3816738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D8C35494-8CBF-4C09-A4C0-5BE8C0257DEC}" type="slidenum">
              <a:rPr lang="en-US" smtClean="0"/>
              <a:t>20</a:t>
            </a:fld>
            <a:endParaRPr lang="en-US"/>
          </a:p>
        </p:txBody>
      </p:sp>
    </p:spTree>
    <p:extLst>
      <p:ext uri="{BB962C8B-B14F-4D97-AF65-F5344CB8AC3E}">
        <p14:creationId xmlns:p14="http://schemas.microsoft.com/office/powerpoint/2010/main" val="16313228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vestment Banking Cover Page">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A2F2BE8-A8DD-EC8A-879E-7F4E6438BE78}"/>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7" name="Title 1">
            <a:extLst>
              <a:ext uri="{FF2B5EF4-FFF2-40B4-BE49-F238E27FC236}">
                <a16:creationId xmlns:a16="http://schemas.microsoft.com/office/drawing/2014/main" id="{E128FFEA-E880-6CA2-1D4D-C144855AFD10}"/>
              </a:ext>
            </a:extLst>
          </p:cNvPr>
          <p:cNvSpPr>
            <a:spLocks noGrp="1"/>
          </p:cNvSpPr>
          <p:nvPr>
            <p:ph type="title" hasCustomPrompt="1"/>
          </p:nvPr>
        </p:nvSpPr>
        <p:spPr>
          <a:xfrm>
            <a:off x="250825" y="2972474"/>
            <a:ext cx="8636493" cy="361950"/>
          </a:xfrm>
        </p:spPr>
        <p:txBody>
          <a:bodyPr wrap="none" tIns="0" bIns="0" anchor="ctr">
            <a:noAutofit/>
          </a:bodyPr>
          <a:lstStyle>
            <a:lvl1pPr>
              <a:defRPr sz="2000" b="1">
                <a:latin typeface="+mj-lt"/>
                <a:cs typeface="Goldman Sans Bold" panose="020B0803020203020204" pitchFamily="34" charset="0"/>
              </a:defRPr>
            </a:lvl1pPr>
          </a:lstStyle>
          <a:p>
            <a:r>
              <a:rPr lang="en-US"/>
              <a:t>Presentation Title</a:t>
            </a:r>
          </a:p>
        </p:txBody>
      </p:sp>
      <p:cxnSp>
        <p:nvCxnSpPr>
          <p:cNvPr id="19" name="Straight Connector 18">
            <a:extLst>
              <a:ext uri="{FF2B5EF4-FFF2-40B4-BE49-F238E27FC236}">
                <a16:creationId xmlns:a16="http://schemas.microsoft.com/office/drawing/2014/main" id="{C8F22DAC-C43E-9639-88D1-72B260FEE987}"/>
              </a:ext>
            </a:extLst>
          </p:cNvPr>
          <p:cNvCxnSpPr>
            <a:cxnSpLocks/>
          </p:cNvCxnSpPr>
          <p:nvPr userDrawn="1"/>
        </p:nvCxnSpPr>
        <p:spPr>
          <a:xfrm>
            <a:off x="241558" y="3417683"/>
            <a:ext cx="866737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 Placeholder 28">
            <a:extLst>
              <a:ext uri="{FF2B5EF4-FFF2-40B4-BE49-F238E27FC236}">
                <a16:creationId xmlns:a16="http://schemas.microsoft.com/office/drawing/2014/main" id="{48DC0D97-29FD-3A24-BFCD-345CF4D822EF}"/>
              </a:ext>
            </a:extLst>
          </p:cNvPr>
          <p:cNvSpPr>
            <a:spLocks noGrp="1"/>
          </p:cNvSpPr>
          <p:nvPr>
            <p:ph type="body" sz="quarter" idx="18" hasCustomPrompt="1"/>
          </p:nvPr>
        </p:nvSpPr>
        <p:spPr>
          <a:xfrm>
            <a:off x="272639" y="3519252"/>
            <a:ext cx="8620536" cy="210807"/>
          </a:xfrm>
        </p:spPr>
        <p:txBody>
          <a:bodyPr wrap="none" tIns="0" bIns="0" anchor="ctr">
            <a:noAutofit/>
          </a:bodyPr>
          <a:lstStyle>
            <a:lvl1pPr marL="0" indent="0">
              <a:lnSpc>
                <a:spcPct val="100000"/>
              </a:lnSpc>
              <a:spcBef>
                <a:spcPts val="0"/>
              </a:spcBef>
              <a:buNone/>
              <a:defRPr sz="1400">
                <a:solidFill>
                  <a:schemeClr val="accent1"/>
                </a:solidFill>
                <a:latin typeface="+mj-lt"/>
                <a:cs typeface="Goldman Sans Light" panose="020B0503020203020204" pitchFamily="34" charset="0"/>
              </a:defRPr>
            </a:lvl1pPr>
          </a:lstStyle>
          <a:p>
            <a:pPr lvl="0"/>
            <a:r>
              <a:rPr lang="en-US"/>
              <a:t>Presentation Subtitle</a:t>
            </a:r>
          </a:p>
        </p:txBody>
      </p:sp>
      <p:sp>
        <p:nvSpPr>
          <p:cNvPr id="11" name="Text Placeholder 28">
            <a:extLst>
              <a:ext uri="{FF2B5EF4-FFF2-40B4-BE49-F238E27FC236}">
                <a16:creationId xmlns:a16="http://schemas.microsoft.com/office/drawing/2014/main" id="{F3EBCBE6-3575-60CC-D32D-EE5C9D4AED9C}"/>
              </a:ext>
            </a:extLst>
          </p:cNvPr>
          <p:cNvSpPr>
            <a:spLocks noGrp="1"/>
          </p:cNvSpPr>
          <p:nvPr>
            <p:ph type="body" sz="quarter" idx="19" hasCustomPrompt="1"/>
          </p:nvPr>
        </p:nvSpPr>
        <p:spPr>
          <a:xfrm>
            <a:off x="241558" y="6458281"/>
            <a:ext cx="8645760" cy="210807"/>
          </a:xfrm>
        </p:spPr>
        <p:txBody>
          <a:bodyPr wrap="none" tIns="0" bIns="0" anchor="ctr">
            <a:noAutofit/>
          </a:bodyPr>
          <a:lstStyle>
            <a:lvl1pPr marL="0" indent="0" algn="l">
              <a:lnSpc>
                <a:spcPct val="100000"/>
              </a:lnSpc>
              <a:spcBef>
                <a:spcPts val="0"/>
              </a:spcBef>
              <a:buNone/>
              <a:defRPr sz="900">
                <a:solidFill>
                  <a:schemeClr val="tx1"/>
                </a:solidFill>
                <a:latin typeface="+mj-lt"/>
                <a:cs typeface="Goldman Sans Light" panose="020B0503020203020204" pitchFamily="34" charset="0"/>
              </a:defRPr>
            </a:lvl1pPr>
          </a:lstStyle>
          <a:p>
            <a:pPr lvl="0"/>
            <a:r>
              <a:rPr lang="en-US"/>
              <a:t>Date</a:t>
            </a:r>
          </a:p>
        </p:txBody>
      </p:sp>
    </p:spTree>
    <p:extLst>
      <p:ext uri="{BB962C8B-B14F-4D97-AF65-F5344CB8AC3E}">
        <p14:creationId xmlns:p14="http://schemas.microsoft.com/office/powerpoint/2010/main" val="3037225722"/>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467895AD-2AD3-FE56-CF82-05C0911CE28C}"/>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sp>
        <p:nvSpPr>
          <p:cNvPr id="13" name="TextBox 12">
            <a:extLst>
              <a:ext uri="{FF2B5EF4-FFF2-40B4-BE49-F238E27FC236}">
                <a16:creationId xmlns:a16="http://schemas.microsoft.com/office/drawing/2014/main" id="{4BCCB196-B957-33FA-EF59-C1647D90B6D1}"/>
              </a:ext>
            </a:extLst>
          </p:cNvPr>
          <p:cNvSpPr txBox="1"/>
          <p:nvPr userDrawn="1"/>
        </p:nvSpPr>
        <p:spPr>
          <a:xfrm>
            <a:off x="250825" y="1016000"/>
            <a:ext cx="8642350" cy="1754326"/>
          </a:xfrm>
          <a:prstGeom prst="rect">
            <a:avLst/>
          </a:prstGeom>
          <a:noFill/>
        </p:spPr>
        <p:txBody>
          <a:bodyPr wrap="square" rtlCol="0">
            <a:spAutoFit/>
          </a:bodyPr>
          <a:lstStyle/>
          <a:p>
            <a:r>
              <a:rPr lang="en-US" sz="1200"/>
              <a:t>The information in this document is for educational and non-commercial use only and is not intended to constitute specific legal, accounting, financial or tax advice for any individual. In no event will </a:t>
            </a:r>
            <a:r>
              <a:rPr lang="en-US" sz="1200" err="1"/>
              <a:t>TFSIG</a:t>
            </a:r>
            <a:r>
              <a:rPr lang="en-US" sz="1200"/>
              <a:t>, Telfer School of Management, University of Ottawa, its members, executives, or directors be liable to you or anyone else for any loss or damages whatsoever (including direct, indirect, special, incidental, consequential, exemplary or punitive damages) resulting from the use of this document, or reliance on the information or content found within this document. The information may not be reproduced or republished in any part without the prior written consent of </a:t>
            </a:r>
            <a:r>
              <a:rPr lang="en-US" sz="1200" err="1"/>
              <a:t>TFSIG</a:t>
            </a:r>
            <a:r>
              <a:rPr lang="en-US" sz="1200"/>
              <a:t>. </a:t>
            </a:r>
            <a:r>
              <a:rPr lang="en-US" sz="1200" err="1"/>
              <a:t>TFSIG</a:t>
            </a:r>
            <a:r>
              <a:rPr lang="en-US" sz="1200"/>
              <a:t> is not in the business of advising or holding themselves out as being in the business of advising. Many factors may affect the applicability of any statement or comment that appear in our documents to an individual's particular circumstances.</a:t>
            </a:r>
          </a:p>
          <a:p>
            <a:endParaRPr lang="en-CA" sz="1200"/>
          </a:p>
        </p:txBody>
      </p:sp>
      <p:cxnSp>
        <p:nvCxnSpPr>
          <p:cNvPr id="15" name="Straight Connector 14">
            <a:extLst>
              <a:ext uri="{FF2B5EF4-FFF2-40B4-BE49-F238E27FC236}">
                <a16:creationId xmlns:a16="http://schemas.microsoft.com/office/drawing/2014/main" id="{89E04521-DA73-1042-29C4-266454E72D46}"/>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Text Placeholder 6">
            <a:extLst>
              <a:ext uri="{FF2B5EF4-FFF2-40B4-BE49-F238E27FC236}">
                <a16:creationId xmlns:a16="http://schemas.microsoft.com/office/drawing/2014/main" id="{838F4171-7986-0ED2-E01A-B86AEFA95479}"/>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5" name="TextBox 4">
            <a:extLst>
              <a:ext uri="{FF2B5EF4-FFF2-40B4-BE49-F238E27FC236}">
                <a16:creationId xmlns:a16="http://schemas.microsoft.com/office/drawing/2014/main" id="{B3473FED-4DD3-68EA-9437-3172271BCBA1}"/>
              </a:ext>
            </a:extLst>
          </p:cNvPr>
          <p:cNvSpPr txBox="1"/>
          <p:nvPr userDrawn="1"/>
        </p:nvSpPr>
        <p:spPr>
          <a:xfrm>
            <a:off x="250824" y="188915"/>
            <a:ext cx="6625463" cy="400110"/>
          </a:xfrm>
          <a:prstGeom prst="rect">
            <a:avLst/>
          </a:prstGeom>
          <a:noFill/>
        </p:spPr>
        <p:txBody>
          <a:bodyPr wrap="square" rtlCol="0">
            <a:spAutoFit/>
          </a:bodyPr>
          <a:lstStyle/>
          <a:p>
            <a:r>
              <a:rPr lang="en-US" sz="2000" b="1">
                <a:solidFill>
                  <a:schemeClr val="tx2"/>
                </a:solidFill>
              </a:rPr>
              <a:t>Disclaimer</a:t>
            </a:r>
            <a:endParaRPr lang="en-CA" sz="2000" b="1">
              <a:solidFill>
                <a:schemeClr val="tx2"/>
              </a:solidFill>
            </a:endParaRPr>
          </a:p>
        </p:txBody>
      </p:sp>
      <p:cxnSp>
        <p:nvCxnSpPr>
          <p:cNvPr id="8" name="Straight Connector 7">
            <a:extLst>
              <a:ext uri="{FF2B5EF4-FFF2-40B4-BE49-F238E27FC236}">
                <a16:creationId xmlns:a16="http://schemas.microsoft.com/office/drawing/2014/main" id="{B3C4F6F5-B661-4019-7DC1-5A080D2AA146}"/>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 Placeholder 28">
            <a:extLst>
              <a:ext uri="{FF2B5EF4-FFF2-40B4-BE49-F238E27FC236}">
                <a16:creationId xmlns:a16="http://schemas.microsoft.com/office/drawing/2014/main" id="{FE027340-F06C-E4D0-1B3D-E07D7069C331}"/>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spTree>
    <p:extLst>
      <p:ext uri="{BB962C8B-B14F-4D97-AF65-F5344CB8AC3E}">
        <p14:creationId xmlns:p14="http://schemas.microsoft.com/office/powerpoint/2010/main" val="297341965"/>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3039" userDrawn="1">
          <p15:clr>
            <a:srgbClr val="F26B43"/>
          </p15:clr>
        </p15:guide>
        <p15:guide id="11" pos="2721" userDrawn="1">
          <p15:clr>
            <a:srgbClr val="F26B43"/>
          </p15:clr>
        </p15:guide>
        <p15:guide id="13" orient="horz" pos="390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7310EE2-4426-439C-A334-777263E6AE33}"/>
              </a:ext>
            </a:extLst>
          </p:cNvPr>
          <p:cNvSpPr txBox="1"/>
          <p:nvPr userDrawn="1"/>
        </p:nvSpPr>
        <p:spPr>
          <a:xfrm>
            <a:off x="0" y="0"/>
            <a:ext cx="9144000" cy="6858000"/>
          </a:xfrm>
          <a:prstGeom prst="rect">
            <a:avLst/>
          </a:prstGeom>
          <a:solidFill>
            <a:schemeClr val="tx2"/>
          </a:solidFill>
        </p:spPr>
        <p:txBody>
          <a:bodyPr wrap="square" rtlCol="0" anchor="ctr">
            <a:noAutofit/>
          </a:bodyPr>
          <a:lstStyle/>
          <a:p>
            <a:pPr algn="ctr"/>
            <a:r>
              <a:rPr lang="en-US" sz="2400">
                <a:solidFill>
                  <a:schemeClr val="bg1"/>
                </a:solidFill>
                <a:latin typeface="Cambria" panose="02040503050406030204" pitchFamily="18" charset="0"/>
                <a:ea typeface="Cambria" panose="02040503050406030204" pitchFamily="18" charset="0"/>
              </a:rPr>
              <a:t>TFS Investment Group</a:t>
            </a:r>
          </a:p>
        </p:txBody>
      </p:sp>
      <p:graphicFrame>
        <p:nvGraphicFramePr>
          <p:cNvPr id="45" name="Table 5">
            <a:extLst>
              <a:ext uri="{FF2B5EF4-FFF2-40B4-BE49-F238E27FC236}">
                <a16:creationId xmlns:a16="http://schemas.microsoft.com/office/drawing/2014/main" id="{99583612-6F77-4F85-8DB1-FCDF56831F89}"/>
              </a:ext>
            </a:extLst>
          </p:cNvPr>
          <p:cNvGraphicFramePr>
            <a:graphicFrameLocks noGrp="1"/>
          </p:cNvGraphicFramePr>
          <p:nvPr userDrawn="1">
            <p:extLst>
              <p:ext uri="{D42A27DB-BD31-4B8C-83A1-F6EECF244321}">
                <p14:modId xmlns:p14="http://schemas.microsoft.com/office/powerpoint/2010/main" val="84745475"/>
              </p:ext>
            </p:extLst>
          </p:nvPr>
        </p:nvGraphicFramePr>
        <p:xfrm>
          <a:off x="14990432" y="1410888"/>
          <a:ext cx="2449845" cy="289560"/>
        </p:xfrm>
        <a:graphic>
          <a:graphicData uri="http://schemas.openxmlformats.org/drawingml/2006/table">
            <a:tbl>
              <a:tblPr firstRow="1" bandRow="1">
                <a:tableStyleId>{5C22544A-7EE6-4342-B048-85BDC9FD1C3A}</a:tableStyleId>
              </a:tblPr>
              <a:tblGrid>
                <a:gridCol w="2449845">
                  <a:extLst>
                    <a:ext uri="{9D8B030D-6E8A-4147-A177-3AD203B41FA5}">
                      <a16:colId xmlns:a16="http://schemas.microsoft.com/office/drawing/2014/main" val="2780553580"/>
                    </a:ext>
                  </a:extLst>
                </a:gridCol>
              </a:tblGrid>
              <a:tr h="192951">
                <a:tc>
                  <a:txBody>
                    <a:bodyPr/>
                    <a:lstStyle/>
                    <a:p>
                      <a:pPr algn="ctr"/>
                      <a:r>
                        <a:rPr lang="en-US" sz="1300" b="0">
                          <a:solidFill>
                            <a:schemeClr val="accent1"/>
                          </a:solidFill>
                          <a:latin typeface="Goldman Sans Bold" panose="020B0803020203020204" pitchFamily="34" charset="0"/>
                          <a:cs typeface="Goldman Sans Bold" panose="020B0803020203020204" pitchFamily="34" charset="0"/>
                        </a:rPr>
                        <a:t>Copy from slide master</a:t>
                      </a:r>
                    </a:p>
                  </a:txBody>
                  <a:tcPr anchor="ctr">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887304422"/>
                  </a:ext>
                </a:extLst>
              </a:tr>
            </a:tbl>
          </a:graphicData>
        </a:graphic>
      </p:graphicFrame>
    </p:spTree>
    <p:extLst>
      <p:ext uri="{BB962C8B-B14F-4D97-AF65-F5344CB8AC3E}">
        <p14:creationId xmlns:p14="http://schemas.microsoft.com/office/powerpoint/2010/main" val="501812895"/>
      </p:ext>
    </p:extLst>
  </p:cSld>
  <p:clrMapOvr>
    <a:masterClrMapping/>
  </p:clrMapOvr>
  <p:extLst>
    <p:ext uri="{DCECCB84-F9BA-43D5-87BE-67443E8EF086}">
      <p15:sldGuideLst xmlns:p15="http://schemas.microsoft.com/office/powerpoint/2012/main">
        <p15:guide id="2" pos="5420" userDrawn="1">
          <p15:clr>
            <a:srgbClr val="F26B43"/>
          </p15:clr>
        </p15:guide>
        <p15:guide id="3" orient="horz" pos="346" userDrawn="1">
          <p15:clr>
            <a:srgbClr val="A4A3A4"/>
          </p15:clr>
        </p15:guide>
        <p15:guide id="4" orient="horz" pos="3974" userDrawn="1">
          <p15:clr>
            <a:srgbClr val="A4A3A4"/>
          </p15:clr>
        </p15:guide>
        <p15:guide id="5" pos="340" userDrawn="1">
          <p15:clr>
            <a:srgbClr val="F26B43"/>
          </p15:clr>
        </p15:guide>
        <p15:guide id="6" orient="horz" pos="799" userDrawn="1">
          <p15:clr>
            <a:srgbClr val="A4A3A4"/>
          </p15:clr>
        </p15:guide>
        <p15:guide id="8" orient="horz" pos="4269" userDrawn="1">
          <p15:clr>
            <a:srgbClr val="A4A3A4"/>
          </p15:clr>
        </p15:guide>
        <p15:guide id="9" orient="horz" pos="51" userDrawn="1">
          <p15:clr>
            <a:srgbClr val="A4A3A4"/>
          </p15:clr>
        </p15:guide>
        <p15:guide id="12" orient="horz" pos="845" userDrawn="1">
          <p15:clr>
            <a:srgbClr val="A4A3A4"/>
          </p15:clr>
        </p15:guide>
        <p15:guide id="13" orient="horz" pos="3929" userDrawn="1">
          <p15:clr>
            <a:srgbClr val="F26B43"/>
          </p15:clr>
        </p15:guide>
        <p15:guide id="15" orient="horz" pos="890" userDrawn="1">
          <p15:clr>
            <a:srgbClr val="547EBF"/>
          </p15:clr>
        </p15:guide>
        <p15:guide id="16" orient="horz" pos="1071"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x1 Content Slide (Horizontal)">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4" y="1384299"/>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6" y="1016000"/>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6" y="3646218"/>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4" y="4015454"/>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1603198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8" orient="horz" pos="2251" userDrawn="1">
          <p15:clr>
            <a:srgbClr val="FBAE40"/>
          </p15:clr>
        </p15:guide>
        <p15:guide id="19" orient="horz" pos="2523" userDrawn="1">
          <p15:clr>
            <a:srgbClr val="FBAE40"/>
          </p15:clr>
        </p15:guide>
        <p15:guide id="22" orient="horz" pos="867" userDrawn="1">
          <p15:clr>
            <a:srgbClr val="FBAE40"/>
          </p15:clr>
        </p15:guide>
        <p15:guide id="24" orient="horz" pos="390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x4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89"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8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Content Placeholder 4">
            <a:extLst>
              <a:ext uri="{FF2B5EF4-FFF2-40B4-BE49-F238E27FC236}">
                <a16:creationId xmlns:a16="http://schemas.microsoft.com/office/drawing/2014/main" id="{67473D30-D304-DC63-643D-824F5B4A2F77}"/>
              </a:ext>
            </a:extLst>
          </p:cNvPr>
          <p:cNvSpPr>
            <a:spLocks noGrp="1"/>
          </p:cNvSpPr>
          <p:nvPr>
            <p:ph sz="quarter" idx="30"/>
          </p:nvPr>
        </p:nvSpPr>
        <p:spPr>
          <a:xfrm>
            <a:off x="4751388"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Google Shape;53;p21">
            <a:extLst>
              <a:ext uri="{FF2B5EF4-FFF2-40B4-BE49-F238E27FC236}">
                <a16:creationId xmlns:a16="http://schemas.microsoft.com/office/drawing/2014/main" id="{16066008-2BE6-0C46-C911-28D9B559BC17}"/>
              </a:ext>
            </a:extLst>
          </p:cNvPr>
          <p:cNvSpPr txBox="1">
            <a:spLocks noGrp="1"/>
          </p:cNvSpPr>
          <p:nvPr>
            <p:ph type="body" idx="31"/>
          </p:nvPr>
        </p:nvSpPr>
        <p:spPr>
          <a:xfrm>
            <a:off x="4751389"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8" name="Straight Connector 27">
            <a:extLst>
              <a:ext uri="{FF2B5EF4-FFF2-40B4-BE49-F238E27FC236}">
                <a16:creationId xmlns:a16="http://schemas.microsoft.com/office/drawing/2014/main" id="{F1F99845-067D-05A9-24EA-9D86C4AD5958}"/>
              </a:ext>
            </a:extLst>
          </p:cNvPr>
          <p:cNvCxnSpPr>
            <a:cxnSpLocks/>
          </p:cNvCxnSpPr>
          <p:nvPr userDrawn="1"/>
        </p:nvCxnSpPr>
        <p:spPr>
          <a:xfrm>
            <a:off x="475138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562269"/>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4" orient="horz" pos="3906" userDrawn="1">
          <p15:clr>
            <a:srgbClr val="FBAE40"/>
          </p15:clr>
        </p15:guide>
        <p15:guide id="25" orient="horz" pos="867" userDrawn="1">
          <p15:clr>
            <a:srgbClr val="FBAE40"/>
          </p15:clr>
        </p15:guide>
        <p15:guide id="26" orient="horz" pos="2251" userDrawn="1">
          <p15:clr>
            <a:srgbClr val="FBAE40"/>
          </p15:clr>
        </p15:guide>
        <p15:guide id="27" orient="horz" pos="252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55D981C-AB7B-3A72-2B31-CB9CAACFCA25}"/>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able Placeholder 3">
            <a:extLst>
              <a:ext uri="{FF2B5EF4-FFF2-40B4-BE49-F238E27FC236}">
                <a16:creationId xmlns:a16="http://schemas.microsoft.com/office/drawing/2014/main" id="{2CC5451C-476F-473A-A288-FD83A2033519}"/>
              </a:ext>
            </a:extLst>
          </p:cNvPr>
          <p:cNvSpPr>
            <a:spLocks noGrp="1"/>
          </p:cNvSpPr>
          <p:nvPr>
            <p:ph type="tbl" sz="quarter" idx="14"/>
          </p:nvPr>
        </p:nvSpPr>
        <p:spPr>
          <a:xfrm>
            <a:off x="241557" y="1006474"/>
            <a:ext cx="8651561" cy="5267326"/>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92B416A2-0B1F-F997-F81F-B76F221003E8}"/>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9" name="Text Placeholder 28">
            <a:extLst>
              <a:ext uri="{FF2B5EF4-FFF2-40B4-BE49-F238E27FC236}">
                <a16:creationId xmlns:a16="http://schemas.microsoft.com/office/drawing/2014/main" id="{4DF1139E-20AE-3AFC-B1A0-9EB723844B95}"/>
              </a:ext>
            </a:extLst>
          </p:cNvPr>
          <p:cNvSpPr>
            <a:spLocks noGrp="1"/>
          </p:cNvSpPr>
          <p:nvPr>
            <p:ph type="body" sz="quarter" idx="13" hasCustomPrompt="1"/>
          </p:nvPr>
        </p:nvSpPr>
        <p:spPr>
          <a:xfrm>
            <a:off x="250825" y="6308724"/>
            <a:ext cx="7645400" cy="360359"/>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sp>
        <p:nvSpPr>
          <p:cNvPr id="12" name="TextBox 11">
            <a:extLst>
              <a:ext uri="{FF2B5EF4-FFF2-40B4-BE49-F238E27FC236}">
                <a16:creationId xmlns:a16="http://schemas.microsoft.com/office/drawing/2014/main" id="{467895AD-2AD3-FE56-CF82-05C0911CE28C}"/>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23" name="Straight Connector 22">
            <a:extLst>
              <a:ext uri="{FF2B5EF4-FFF2-40B4-BE49-F238E27FC236}">
                <a16:creationId xmlns:a16="http://schemas.microsoft.com/office/drawing/2014/main" id="{0DD4A9D0-249F-62A1-44CD-E79E08784FD9}"/>
              </a:ext>
            </a:extLst>
          </p:cNvPr>
          <p:cNvCxnSpPr>
            <a:cxnSpLocks/>
          </p:cNvCxnSpPr>
          <p:nvPr userDrawn="1"/>
        </p:nvCxnSpPr>
        <p:spPr>
          <a:xfrm>
            <a:off x="250825" y="584200"/>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3" name="Table 8">
            <a:extLst>
              <a:ext uri="{FF2B5EF4-FFF2-40B4-BE49-F238E27FC236}">
                <a16:creationId xmlns:a16="http://schemas.microsoft.com/office/drawing/2014/main" id="{CF429F5C-D75C-6FD0-12CB-BBD6FFAD0CF5}"/>
              </a:ext>
            </a:extLst>
          </p:cNvPr>
          <p:cNvGraphicFramePr>
            <a:graphicFrameLocks/>
          </p:cNvGraphicFramePr>
          <p:nvPr userDrawn="1"/>
        </p:nvGraphicFramePr>
        <p:xfrm>
          <a:off x="256375" y="-434857"/>
          <a:ext cx="4136238" cy="274320"/>
        </p:xfrm>
        <a:graphic>
          <a:graphicData uri="http://schemas.openxmlformats.org/drawingml/2006/table">
            <a:tbl>
              <a:tblPr firstRow="1" bandRow="1">
                <a:tableStyleId>{5C22544A-7EE6-4342-B048-85BDC9FD1C3A}</a:tableStyleId>
              </a:tblPr>
              <a:tblGrid>
                <a:gridCol w="4136238">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cxnSp>
        <p:nvCxnSpPr>
          <p:cNvPr id="7" name="Straight Connector 6">
            <a:extLst>
              <a:ext uri="{FF2B5EF4-FFF2-40B4-BE49-F238E27FC236}">
                <a16:creationId xmlns:a16="http://schemas.microsoft.com/office/drawing/2014/main" id="{6B8CDC80-B872-625A-1796-62B38E9E4722}"/>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732608"/>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4" orient="horz" pos="640" userDrawn="1">
          <p15:clr>
            <a:srgbClr val="FBAE40"/>
          </p15:clr>
        </p15:guide>
        <p15:guide id="15" orient="horz" pos="395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x1 Content Slide (Vertical)">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1B067EFE-DA31-A07C-6CBF-22C93277F5CB}"/>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91"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303"/>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90"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303"/>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221552074"/>
      </p:ext>
    </p:extLst>
  </p:cSld>
  <p:clrMapOvr>
    <a:masterClrMapping/>
  </p:clrMapOvr>
  <p:extLst>
    <p:ext uri="{DCECCB84-F9BA-43D5-87BE-67443E8EF086}">
      <p15:sldGuideLst xmlns:p15="http://schemas.microsoft.com/office/powerpoint/2012/main">
        <p15:guide id="2" pos="4202" userDrawn="1">
          <p15:clr>
            <a:srgbClr val="F26B43"/>
          </p15:clr>
        </p15:guide>
        <p15:guide id="5" pos="119" userDrawn="1">
          <p15:clr>
            <a:srgbClr val="F26B43"/>
          </p15:clr>
        </p15:guide>
        <p15:guide id="8" orient="horz" pos="4201" userDrawn="1">
          <p15:clr>
            <a:srgbClr val="A4A3A4"/>
          </p15:clr>
        </p15:guide>
        <p15:guide id="9" orient="horz" pos="119" userDrawn="1">
          <p15:clr>
            <a:srgbClr val="A4A3A4"/>
          </p15:clr>
        </p15:guide>
        <p15:guide id="10" pos="2245" userDrawn="1">
          <p15:clr>
            <a:srgbClr val="F26B43"/>
          </p15:clr>
        </p15:guide>
        <p15:guide id="11" pos="2075" userDrawn="1">
          <p15:clr>
            <a:srgbClr val="F26B43"/>
          </p15:clr>
        </p15:guide>
        <p15:guide id="22" orient="horz" pos="867" userDrawn="1">
          <p15:clr>
            <a:srgbClr val="FBAE40"/>
          </p15:clr>
        </p15:guide>
        <p15:guide id="24" orient="horz" pos="3906"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3385AB85-6235-E29F-ADEA-403734AF8780}"/>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5" name="Text Placeholder 6">
            <a:extLst>
              <a:ext uri="{FF2B5EF4-FFF2-40B4-BE49-F238E27FC236}">
                <a16:creationId xmlns:a16="http://schemas.microsoft.com/office/drawing/2014/main" id="{955D981C-AB7B-3A72-2B31-CB9CAACFCA25}"/>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able Placeholder 3">
            <a:extLst>
              <a:ext uri="{FF2B5EF4-FFF2-40B4-BE49-F238E27FC236}">
                <a16:creationId xmlns:a16="http://schemas.microsoft.com/office/drawing/2014/main" id="{2CC5451C-476F-473A-A288-FD83A2033519}"/>
              </a:ext>
            </a:extLst>
          </p:cNvPr>
          <p:cNvSpPr>
            <a:spLocks noGrp="1"/>
          </p:cNvSpPr>
          <p:nvPr>
            <p:ph type="tbl" sz="quarter" idx="14"/>
          </p:nvPr>
        </p:nvSpPr>
        <p:spPr>
          <a:xfrm>
            <a:off x="250827" y="1006475"/>
            <a:ext cx="8642293" cy="5194298"/>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92B416A2-0B1F-F997-F81F-B76F221003E8}"/>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9" name="Text Placeholder 28">
            <a:extLst>
              <a:ext uri="{FF2B5EF4-FFF2-40B4-BE49-F238E27FC236}">
                <a16:creationId xmlns:a16="http://schemas.microsoft.com/office/drawing/2014/main" id="{4DF1139E-20AE-3AFC-B1A0-9EB723844B95}"/>
              </a:ext>
            </a:extLst>
          </p:cNvPr>
          <p:cNvSpPr>
            <a:spLocks noGrp="1"/>
          </p:cNvSpPr>
          <p:nvPr>
            <p:ph type="body" sz="quarter" idx="13" hasCustomPrompt="1"/>
          </p:nvPr>
        </p:nvSpPr>
        <p:spPr>
          <a:xfrm>
            <a:off x="250825" y="6308728"/>
            <a:ext cx="7645400" cy="360359"/>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sp>
        <p:nvSpPr>
          <p:cNvPr id="12" name="TextBox 11">
            <a:extLst>
              <a:ext uri="{FF2B5EF4-FFF2-40B4-BE49-F238E27FC236}">
                <a16:creationId xmlns:a16="http://schemas.microsoft.com/office/drawing/2014/main" id="{467895AD-2AD3-FE56-CF82-05C0911CE28C}"/>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23" name="Straight Connector 22">
            <a:extLst>
              <a:ext uri="{FF2B5EF4-FFF2-40B4-BE49-F238E27FC236}">
                <a16:creationId xmlns:a16="http://schemas.microsoft.com/office/drawing/2014/main" id="{0DD4A9D0-249F-62A1-44CD-E79E08784FD9}"/>
              </a:ext>
            </a:extLst>
          </p:cNvPr>
          <p:cNvCxnSpPr>
            <a:cxnSpLocks/>
          </p:cNvCxnSpPr>
          <p:nvPr userDrawn="1"/>
        </p:nvCxnSpPr>
        <p:spPr>
          <a:xfrm>
            <a:off x="250827" y="584200"/>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B8CDC80-B872-625A-1796-62B38E9E4722}"/>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732608"/>
      </p:ext>
    </p:extLst>
  </p:cSld>
  <p:clrMapOvr>
    <a:masterClrMapping/>
  </p:clrMapOvr>
  <p:extLst>
    <p:ext uri="{DCECCB84-F9BA-43D5-87BE-67443E8EF086}">
      <p15:sldGuideLst xmlns:p15="http://schemas.microsoft.com/office/powerpoint/2012/main">
        <p15:guide id="2" pos="4202" userDrawn="1">
          <p15:clr>
            <a:srgbClr val="F26B43"/>
          </p15:clr>
        </p15:guide>
        <p15:guide id="5" pos="119" userDrawn="1">
          <p15:clr>
            <a:srgbClr val="F26B43"/>
          </p15:clr>
        </p15:guide>
        <p15:guide id="8" orient="horz" pos="4201" userDrawn="1">
          <p15:clr>
            <a:srgbClr val="A4A3A4"/>
          </p15:clr>
        </p15:guide>
        <p15:guide id="9" orient="horz" pos="119" userDrawn="1">
          <p15:clr>
            <a:srgbClr val="A4A3A4"/>
          </p15:clr>
        </p15:guide>
        <p15:guide id="10" pos="2245" userDrawn="1">
          <p15:clr>
            <a:srgbClr val="F26B43"/>
          </p15:clr>
        </p15:guide>
        <p15:guide id="11" pos="2075" userDrawn="1">
          <p15:clr>
            <a:srgbClr val="F26B43"/>
          </p15:clr>
        </p15:guide>
        <p15:guide id="14" orient="horz" pos="640" userDrawn="1">
          <p15:clr>
            <a:srgbClr val="FBAE40"/>
          </p15:clr>
        </p15:guide>
        <p15:guide id="15" orient="horz" pos="390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x2 Content Slide (Vertical)">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303"/>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Google Shape;53;p21">
            <a:extLst>
              <a:ext uri="{FF2B5EF4-FFF2-40B4-BE49-F238E27FC236}">
                <a16:creationId xmlns:a16="http://schemas.microsoft.com/office/drawing/2014/main" id="{10550B5A-EBB2-4ED7-AE01-276FB8EB559F}"/>
              </a:ext>
            </a:extLst>
          </p:cNvPr>
          <p:cNvSpPr txBox="1">
            <a:spLocks noGrp="1"/>
          </p:cNvSpPr>
          <p:nvPr>
            <p:ph type="body" idx="22"/>
          </p:nvPr>
        </p:nvSpPr>
        <p:spPr>
          <a:xfrm>
            <a:off x="4751391"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6" name="Straight Connector 5">
            <a:extLst>
              <a:ext uri="{FF2B5EF4-FFF2-40B4-BE49-F238E27FC236}">
                <a16:creationId xmlns:a16="http://schemas.microsoft.com/office/drawing/2014/main" id="{CE053653-BB11-23B5-A2BE-E385BA51B025}"/>
              </a:ext>
            </a:extLst>
          </p:cNvPr>
          <p:cNvCxnSpPr>
            <a:cxnSpLocks/>
          </p:cNvCxnSpPr>
          <p:nvPr userDrawn="1"/>
        </p:nvCxnSpPr>
        <p:spPr>
          <a:xfrm>
            <a:off x="4751390"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Content Placeholder 4">
            <a:extLst>
              <a:ext uri="{FF2B5EF4-FFF2-40B4-BE49-F238E27FC236}">
                <a16:creationId xmlns:a16="http://schemas.microsoft.com/office/drawing/2014/main" id="{8850C138-787A-AA16-0EBE-E16C777B226A}"/>
              </a:ext>
            </a:extLst>
          </p:cNvPr>
          <p:cNvSpPr>
            <a:spLocks noGrp="1"/>
          </p:cNvSpPr>
          <p:nvPr>
            <p:ph sz="quarter" idx="28"/>
          </p:nvPr>
        </p:nvSpPr>
        <p:spPr>
          <a:xfrm>
            <a:off x="4751388" y="1384303"/>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0" name="Content Placeholder 4">
            <a:extLst>
              <a:ext uri="{FF2B5EF4-FFF2-40B4-BE49-F238E27FC236}">
                <a16:creationId xmlns:a16="http://schemas.microsoft.com/office/drawing/2014/main" id="{EDFF8629-AF17-3291-E716-E103B0688DC0}"/>
              </a:ext>
            </a:extLst>
          </p:cNvPr>
          <p:cNvSpPr>
            <a:spLocks noGrp="1"/>
          </p:cNvSpPr>
          <p:nvPr>
            <p:ph sz="quarter" idx="30"/>
          </p:nvPr>
        </p:nvSpPr>
        <p:spPr>
          <a:xfrm>
            <a:off x="4751388"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2" name="Google Shape;53;p21">
            <a:extLst>
              <a:ext uri="{FF2B5EF4-FFF2-40B4-BE49-F238E27FC236}">
                <a16:creationId xmlns:a16="http://schemas.microsoft.com/office/drawing/2014/main" id="{C61387F0-5599-92FD-B37D-CF984C8AD5C6}"/>
              </a:ext>
            </a:extLst>
          </p:cNvPr>
          <p:cNvSpPr txBox="1">
            <a:spLocks noGrp="1"/>
          </p:cNvSpPr>
          <p:nvPr>
            <p:ph type="body" idx="31"/>
          </p:nvPr>
        </p:nvSpPr>
        <p:spPr>
          <a:xfrm>
            <a:off x="4751391"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13" name="Straight Connector 12">
            <a:extLst>
              <a:ext uri="{FF2B5EF4-FFF2-40B4-BE49-F238E27FC236}">
                <a16:creationId xmlns:a16="http://schemas.microsoft.com/office/drawing/2014/main" id="{644C140B-1B48-E578-2F73-3878C4F62C82}"/>
              </a:ext>
            </a:extLst>
          </p:cNvPr>
          <p:cNvCxnSpPr>
            <a:cxnSpLocks/>
          </p:cNvCxnSpPr>
          <p:nvPr userDrawn="1"/>
        </p:nvCxnSpPr>
        <p:spPr>
          <a:xfrm>
            <a:off x="4751390"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5466815"/>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2" orient="horz" pos="867" userDrawn="1">
          <p15:clr>
            <a:srgbClr val="FBAE40"/>
          </p15:clr>
        </p15:guide>
        <p15:guide id="24" orient="horz" pos="3906" userDrawn="1">
          <p15:clr>
            <a:srgbClr val="FBAE40"/>
          </p15:clr>
        </p15:guide>
        <p15:guide id="25" orient="horz" pos="2523" userDrawn="1">
          <p15:clr>
            <a:srgbClr val="FBAE40"/>
          </p15:clr>
        </p15:guide>
        <p15:guide id="26" orient="horz" pos="225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x4 Content Slide">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93F31B5-E32A-891A-9BDD-223FF44E1C77}"/>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800"/>
          </a:p>
        </p:txBody>
      </p:sp>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91"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303"/>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90"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4"/>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303"/>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Content Placeholder 4">
            <a:extLst>
              <a:ext uri="{FF2B5EF4-FFF2-40B4-BE49-F238E27FC236}">
                <a16:creationId xmlns:a16="http://schemas.microsoft.com/office/drawing/2014/main" id="{67473D30-D304-DC63-643D-824F5B4A2F77}"/>
              </a:ext>
            </a:extLst>
          </p:cNvPr>
          <p:cNvSpPr>
            <a:spLocks noGrp="1"/>
          </p:cNvSpPr>
          <p:nvPr>
            <p:ph sz="quarter" idx="30"/>
          </p:nvPr>
        </p:nvSpPr>
        <p:spPr>
          <a:xfrm>
            <a:off x="4751388" y="4015458"/>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Google Shape;53;p21">
            <a:extLst>
              <a:ext uri="{FF2B5EF4-FFF2-40B4-BE49-F238E27FC236}">
                <a16:creationId xmlns:a16="http://schemas.microsoft.com/office/drawing/2014/main" id="{16066008-2BE6-0C46-C911-28D9B559BC17}"/>
              </a:ext>
            </a:extLst>
          </p:cNvPr>
          <p:cNvSpPr txBox="1">
            <a:spLocks noGrp="1"/>
          </p:cNvSpPr>
          <p:nvPr>
            <p:ph type="body" idx="31"/>
          </p:nvPr>
        </p:nvSpPr>
        <p:spPr>
          <a:xfrm>
            <a:off x="4751391"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783" lvl="1" indent="-257168" algn="l">
              <a:spcBef>
                <a:spcPts val="451"/>
              </a:spcBef>
              <a:spcAft>
                <a:spcPts val="0"/>
              </a:spcAft>
              <a:buSzPts val="1800"/>
              <a:buChar char="•"/>
              <a:defRPr/>
            </a:lvl2pPr>
            <a:lvl3pPr marL="1028674" lvl="2" indent="-257168" algn="l">
              <a:spcBef>
                <a:spcPts val="0"/>
              </a:spcBef>
              <a:spcAft>
                <a:spcPts val="0"/>
              </a:spcAft>
              <a:buSzPts val="1800"/>
              <a:buChar char="•"/>
              <a:defRPr/>
            </a:lvl3pPr>
            <a:lvl4pPr marL="1371566" lvl="3" indent="-257168" algn="l">
              <a:spcBef>
                <a:spcPts val="451"/>
              </a:spcBef>
              <a:spcAft>
                <a:spcPts val="0"/>
              </a:spcAft>
              <a:buSzPts val="1800"/>
              <a:buChar char="•"/>
              <a:defRPr/>
            </a:lvl4pPr>
            <a:lvl5pPr marL="1714457" lvl="4" indent="-257168" algn="l">
              <a:spcBef>
                <a:spcPts val="451"/>
              </a:spcBef>
              <a:spcAft>
                <a:spcPts val="0"/>
              </a:spcAft>
              <a:buSzPts val="1800"/>
              <a:buChar char="•"/>
              <a:defRPr/>
            </a:lvl5pPr>
            <a:lvl6pPr marL="2057349" lvl="5" indent="-171446">
              <a:spcBef>
                <a:spcPts val="451"/>
              </a:spcBef>
              <a:spcAft>
                <a:spcPts val="0"/>
              </a:spcAft>
              <a:buSzPts val="1400"/>
              <a:buNone/>
              <a:defRPr/>
            </a:lvl6pPr>
            <a:lvl7pPr marL="2400240" lvl="6" indent="-171446">
              <a:spcBef>
                <a:spcPts val="0"/>
              </a:spcBef>
              <a:spcAft>
                <a:spcPts val="0"/>
              </a:spcAft>
              <a:buSzPts val="1400"/>
              <a:buNone/>
              <a:defRPr/>
            </a:lvl7pPr>
            <a:lvl8pPr marL="2743131" lvl="7" indent="-171446">
              <a:spcBef>
                <a:spcPts val="0"/>
              </a:spcBef>
              <a:spcAft>
                <a:spcPts val="0"/>
              </a:spcAft>
              <a:buSzPts val="1400"/>
              <a:buNone/>
              <a:defRPr/>
            </a:lvl8pPr>
            <a:lvl9pPr marL="3086023" lvl="8" indent="-171446">
              <a:spcBef>
                <a:spcPts val="0"/>
              </a:spcBef>
              <a:spcAft>
                <a:spcPts val="0"/>
              </a:spcAft>
              <a:buSzPts val="1400"/>
              <a:buNone/>
              <a:defRPr/>
            </a:lvl9pPr>
          </a:lstStyle>
          <a:p>
            <a:endParaRPr/>
          </a:p>
        </p:txBody>
      </p:sp>
      <p:cxnSp>
        <p:nvCxnSpPr>
          <p:cNvPr id="28" name="Straight Connector 27">
            <a:extLst>
              <a:ext uri="{FF2B5EF4-FFF2-40B4-BE49-F238E27FC236}">
                <a16:creationId xmlns:a16="http://schemas.microsoft.com/office/drawing/2014/main" id="{F1F99845-067D-05A9-24EA-9D86C4AD5958}"/>
              </a:ext>
            </a:extLst>
          </p:cNvPr>
          <p:cNvCxnSpPr>
            <a:cxnSpLocks/>
          </p:cNvCxnSpPr>
          <p:nvPr userDrawn="1"/>
        </p:nvCxnSpPr>
        <p:spPr>
          <a:xfrm>
            <a:off x="4751390"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562269"/>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4" orient="horz" pos="3906" userDrawn="1">
          <p15:clr>
            <a:srgbClr val="FBAE40"/>
          </p15:clr>
        </p15:guide>
        <p15:guide id="25" orient="horz" pos="867" userDrawn="1">
          <p15:clr>
            <a:srgbClr val="FBAE40"/>
          </p15:clr>
        </p15:guide>
        <p15:guide id="26" orient="horz" pos="2251" userDrawn="1">
          <p15:clr>
            <a:srgbClr val="FBAE40"/>
          </p15:clr>
        </p15:guide>
        <p15:guide id="27" orient="horz" pos="252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remade 4x4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601" y="6273804"/>
            <a:ext cx="286576" cy="584195"/>
          </a:xfrm>
          <a:prstGeom prst="rect">
            <a:avLst/>
          </a:prstGeom>
          <a:noFill/>
        </p:spPr>
        <p:txBody>
          <a:bodyPr wrap="square" rIns="0" rtlCol="0" anchor="ctr">
            <a:noAutofit/>
          </a:bodyPr>
          <a:lstStyle/>
          <a:p>
            <a:pPr algn="r"/>
            <a:fld id="{8A15F205-7D98-4B7A-8DEA-3CCCDE55FD6E}" type="slidenum">
              <a:rPr lang="en-US" sz="1000" smtClean="0">
                <a:latin typeface="+mj-lt"/>
                <a:cs typeface="Goldman Sans Regular" panose="020B0603020203020204" pitchFamily="34" charset="0"/>
              </a:rPr>
              <a:pPr algn="r"/>
              <a:t>‹#›</a:t>
            </a:fld>
            <a:endParaRPr lang="en-US" sz="12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7"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8"/>
            <a:ext cx="8355774" cy="360357"/>
          </a:xfrm>
        </p:spPr>
        <p:txBody>
          <a:bodyPr wrap="none" tIns="0" bIns="0" anchor="t">
            <a:noAutofit/>
          </a:bodyPr>
          <a:lstStyle>
            <a:lvl1pPr marL="0" indent="0">
              <a:lnSpc>
                <a:spcPct val="100000"/>
              </a:lnSpc>
              <a:spcBef>
                <a:spcPts val="0"/>
              </a:spcBef>
              <a:buNone/>
              <a:defRPr sz="800">
                <a:solidFill>
                  <a:schemeClr val="tx1"/>
                </a:solidFill>
                <a:latin typeface="+mj-lt"/>
                <a:cs typeface="Goldman Sans Light" panose="020B0503020203020204" pitchFamily="34" charset="0"/>
              </a:defRPr>
            </a:lvl1pPr>
          </a:lstStyle>
          <a:p>
            <a:pPr lvl="0"/>
            <a:r>
              <a:rPr lang="en-US"/>
              <a:t>Notes</a:t>
            </a:r>
          </a:p>
        </p:txBody>
      </p:sp>
      <p:sp>
        <p:nvSpPr>
          <p:cNvPr id="5" name="Content Placeholder 4">
            <a:extLst>
              <a:ext uri="{FF2B5EF4-FFF2-40B4-BE49-F238E27FC236}">
                <a16:creationId xmlns:a16="http://schemas.microsoft.com/office/drawing/2014/main" id="{7DEB5B7A-13BD-212F-FFD4-EC200A49DEC6}"/>
              </a:ext>
            </a:extLst>
          </p:cNvPr>
          <p:cNvSpPr>
            <a:spLocks noGrp="1"/>
          </p:cNvSpPr>
          <p:nvPr>
            <p:ph sz="quarter" idx="14"/>
          </p:nvPr>
        </p:nvSpPr>
        <p:spPr>
          <a:xfrm>
            <a:off x="256376" y="1304925"/>
            <a:ext cx="4136239" cy="233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4">
            <a:extLst>
              <a:ext uri="{FF2B5EF4-FFF2-40B4-BE49-F238E27FC236}">
                <a16:creationId xmlns:a16="http://schemas.microsoft.com/office/drawing/2014/main" id="{7DF97499-BAFB-917C-DF1C-A1E6EF6DE479}"/>
              </a:ext>
            </a:extLst>
          </p:cNvPr>
          <p:cNvSpPr>
            <a:spLocks noGrp="1"/>
          </p:cNvSpPr>
          <p:nvPr>
            <p:ph sz="quarter" idx="15"/>
          </p:nvPr>
        </p:nvSpPr>
        <p:spPr>
          <a:xfrm>
            <a:off x="250825" y="3937710"/>
            <a:ext cx="4141788" cy="2330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8" name="Content Placeholder 4">
            <a:extLst>
              <a:ext uri="{FF2B5EF4-FFF2-40B4-BE49-F238E27FC236}">
                <a16:creationId xmlns:a16="http://schemas.microsoft.com/office/drawing/2014/main" id="{C83C728E-B25A-339A-42B2-C4C2AC3D951E}"/>
              </a:ext>
            </a:extLst>
          </p:cNvPr>
          <p:cNvSpPr>
            <a:spLocks noGrp="1"/>
          </p:cNvSpPr>
          <p:nvPr>
            <p:ph sz="quarter" idx="19"/>
          </p:nvPr>
        </p:nvSpPr>
        <p:spPr>
          <a:xfrm>
            <a:off x="4756940" y="1304925"/>
            <a:ext cx="4136239" cy="233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9" name="Content Placeholder 4">
            <a:extLst>
              <a:ext uri="{FF2B5EF4-FFF2-40B4-BE49-F238E27FC236}">
                <a16:creationId xmlns:a16="http://schemas.microsoft.com/office/drawing/2014/main" id="{097C61F1-C8E7-C202-B14D-863127528D1B}"/>
              </a:ext>
            </a:extLst>
          </p:cNvPr>
          <p:cNvSpPr>
            <a:spLocks noGrp="1"/>
          </p:cNvSpPr>
          <p:nvPr>
            <p:ph sz="quarter" idx="20"/>
          </p:nvPr>
        </p:nvSpPr>
        <p:spPr>
          <a:xfrm>
            <a:off x="4751389" y="3937710"/>
            <a:ext cx="4141788" cy="2330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7" y="584204"/>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8" name="TextBox 7">
            <a:extLst>
              <a:ext uri="{FF2B5EF4-FFF2-40B4-BE49-F238E27FC236}">
                <a16:creationId xmlns:a16="http://schemas.microsoft.com/office/drawing/2014/main" id="{730785BF-9B65-0E52-6395-E8D39EDCE36A}"/>
              </a:ext>
            </a:extLst>
          </p:cNvPr>
          <p:cNvSpPr txBox="1"/>
          <p:nvPr userDrawn="1"/>
        </p:nvSpPr>
        <p:spPr>
          <a:xfrm>
            <a:off x="-1795573" y="5846428"/>
            <a:ext cx="1538175" cy="739177"/>
          </a:xfrm>
          <a:prstGeom prst="rect">
            <a:avLst/>
          </a:prstGeom>
          <a:noFill/>
        </p:spPr>
        <p:txBody>
          <a:bodyPr wrap="square" rtlCol="0">
            <a:spAutoFit/>
          </a:bodyPr>
          <a:lstStyle/>
          <a:p>
            <a:r>
              <a:rPr lang="en-US" sz="1051" i="1">
                <a:solidFill>
                  <a:schemeClr val="tx1"/>
                </a:solidFill>
              </a:rPr>
              <a:t>To get the content headers, go to Slide Master and copy paste them into your deck</a:t>
            </a:r>
            <a:endParaRPr lang="en-CA" sz="1051" i="1">
              <a:solidFill>
                <a:schemeClr val="tx1"/>
              </a:solidFill>
            </a:endParaRPr>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5"/>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7"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4905437"/>
      </p:ext>
    </p:extLst>
  </p:cSld>
  <p:clrMapOvr>
    <a:masterClrMapping/>
  </p:clrMapOvr>
  <p:hf sldNum="0" hdr="0" ftr="0" dt="0"/>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4" orient="horz" pos="640" userDrawn="1">
          <p15:clr>
            <a:srgbClr val="FBAE40"/>
          </p15:clr>
        </p15:guide>
        <p15:guide id="17" orient="horz" pos="3974" userDrawn="1">
          <p15:clr>
            <a:srgbClr val="F26B43"/>
          </p15:clr>
        </p15:guide>
        <p15:guide id="18" orient="horz" pos="2296" userDrawn="1">
          <p15:clr>
            <a:srgbClr val="FBAE40"/>
          </p15:clr>
        </p15:guide>
        <p15:guide id="19" orient="horz" pos="2478" userDrawn="1">
          <p15:clr>
            <a:srgbClr val="FBAE40"/>
          </p15:clr>
        </p15:guide>
        <p15:guide id="22" orient="horz" pos="822" userDrawn="1">
          <p15:clr>
            <a:srgbClr val="FBAE40"/>
          </p15:clr>
        </p15:guide>
        <p15:guide id="23" orient="horz" pos="368" userDrawn="1">
          <p15:clr>
            <a:srgbClr val="FBAE40"/>
          </p15:clr>
        </p15:guide>
        <p15:guide id="24" orient="horz" pos="39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ernative Slide 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C51E235-07B0-41D8-B948-9869A903C41C}"/>
              </a:ext>
            </a:extLst>
          </p:cNvPr>
          <p:cNvSpPr>
            <a:spLocks noGrp="1"/>
          </p:cNvSpPr>
          <p:nvPr>
            <p:ph type="pic" sz="quarter" idx="10" hasCustomPrompt="1"/>
          </p:nvPr>
        </p:nvSpPr>
        <p:spPr>
          <a:xfrm>
            <a:off x="0" y="0"/>
            <a:ext cx="9144000" cy="6858000"/>
          </a:xfrm>
          <a:solidFill>
            <a:schemeClr val="bg2">
              <a:lumMod val="20000"/>
              <a:lumOff val="80000"/>
            </a:schemeClr>
          </a:solidFill>
        </p:spPr>
        <p:txBody>
          <a:bodyPr/>
          <a:lstStyle>
            <a:lvl1pPr marL="0" indent="0">
              <a:buNone/>
              <a:defRPr>
                <a:latin typeface="+mj-lt"/>
              </a:defRPr>
            </a:lvl1pPr>
          </a:lstStyle>
          <a:p>
            <a:r>
              <a:rPr lang="en-US"/>
              <a:t>Picture Placeholder (click icon to add picture)</a:t>
            </a:r>
          </a:p>
        </p:txBody>
      </p:sp>
      <p:sp>
        <p:nvSpPr>
          <p:cNvPr id="7" name="Text Placeholder 4">
            <a:extLst>
              <a:ext uri="{FF2B5EF4-FFF2-40B4-BE49-F238E27FC236}">
                <a16:creationId xmlns:a16="http://schemas.microsoft.com/office/drawing/2014/main" id="{E4B6BC8C-D43C-4470-92CD-926ABB9C06A7}"/>
              </a:ext>
            </a:extLst>
          </p:cNvPr>
          <p:cNvSpPr>
            <a:spLocks noGrp="1"/>
          </p:cNvSpPr>
          <p:nvPr>
            <p:ph type="body" sz="quarter" idx="13" hasCustomPrompt="1"/>
          </p:nvPr>
        </p:nvSpPr>
        <p:spPr>
          <a:xfrm>
            <a:off x="0" y="5121275"/>
            <a:ext cx="9144000" cy="1736724"/>
          </a:xfrm>
          <a:solidFill>
            <a:srgbClr val="080808">
              <a:alpha val="74902"/>
            </a:srgbClr>
          </a:solidFill>
        </p:spPr>
        <p:txBody>
          <a:bodyPr/>
          <a:lstStyle>
            <a:lvl1pPr marL="0" indent="0">
              <a:buNone/>
              <a:defRPr>
                <a:solidFill>
                  <a:schemeClr val="bg1"/>
                </a:solidFill>
                <a:latin typeface="+mj-lt"/>
              </a:defRPr>
            </a:lvl1pPr>
          </a:lstStyle>
          <a:p>
            <a:pPr lvl="0"/>
            <a:r>
              <a:rPr lang="en-US"/>
              <a:t>Box1 (this text won’t show)</a:t>
            </a:r>
          </a:p>
        </p:txBody>
      </p:sp>
      <p:sp>
        <p:nvSpPr>
          <p:cNvPr id="2" name="Title 1"/>
          <p:cNvSpPr>
            <a:spLocks noGrp="1"/>
          </p:cNvSpPr>
          <p:nvPr>
            <p:ph type="ctrTitle" hasCustomPrompt="1"/>
          </p:nvPr>
        </p:nvSpPr>
        <p:spPr>
          <a:xfrm>
            <a:off x="250825" y="5339798"/>
            <a:ext cx="8642349" cy="810730"/>
          </a:xfrm>
        </p:spPr>
        <p:txBody>
          <a:bodyPr bIns="0" anchor="ctr">
            <a:normAutofit/>
          </a:bodyPr>
          <a:lstStyle>
            <a:lvl1pPr algn="l">
              <a:lnSpc>
                <a:spcPct val="100000"/>
              </a:lnSpc>
              <a:defRPr sz="6000">
                <a:solidFill>
                  <a:schemeClr val="bg1"/>
                </a:solidFill>
                <a:latin typeface="+mj-lt"/>
                <a:ea typeface="Cambria" panose="02040503050406030204" pitchFamily="18" charset="0"/>
                <a:cs typeface="Arial" panose="020B0604020202020204" pitchFamily="34" charset="0"/>
              </a:defRPr>
            </a:lvl1pPr>
          </a:lstStyle>
          <a:p>
            <a:r>
              <a:rPr lang="en-US"/>
              <a:t>Presentation Title</a:t>
            </a:r>
          </a:p>
        </p:txBody>
      </p:sp>
      <p:sp>
        <p:nvSpPr>
          <p:cNvPr id="3" name="Subtitle 2"/>
          <p:cNvSpPr>
            <a:spLocks noGrp="1"/>
          </p:cNvSpPr>
          <p:nvPr>
            <p:ph type="subTitle" idx="1" hasCustomPrompt="1"/>
          </p:nvPr>
        </p:nvSpPr>
        <p:spPr>
          <a:xfrm>
            <a:off x="250827" y="6237292"/>
            <a:ext cx="8642348" cy="395287"/>
          </a:xfrm>
        </p:spPr>
        <p:txBody>
          <a:bodyPr lIns="144000" anchor="b">
            <a:noAutofit/>
          </a:bodyPr>
          <a:lstStyle>
            <a:lvl1pPr marL="0" indent="0" algn="l">
              <a:lnSpc>
                <a:spcPct val="100000"/>
              </a:lnSpc>
              <a:spcBef>
                <a:spcPts val="0"/>
              </a:spcBef>
              <a:buNone/>
              <a:defRPr sz="1600">
                <a:solidFill>
                  <a:schemeClr val="bg1"/>
                </a:solidFill>
                <a:latin typeface="+mj-lt"/>
                <a:cs typeface="Goldman Sans Light" panose="020B0503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p>
        </p:txBody>
      </p:sp>
      <p:sp>
        <p:nvSpPr>
          <p:cNvPr id="13" name="Content Placeholder 9">
            <a:extLst>
              <a:ext uri="{FF2B5EF4-FFF2-40B4-BE49-F238E27FC236}">
                <a16:creationId xmlns:a16="http://schemas.microsoft.com/office/drawing/2014/main" id="{35DC33CC-D6EE-433F-BDB4-3E0C0CC43770}"/>
              </a:ext>
            </a:extLst>
          </p:cNvPr>
          <p:cNvSpPr>
            <a:spLocks noGrp="1"/>
          </p:cNvSpPr>
          <p:nvPr>
            <p:ph sz="quarter" idx="12" hasCustomPrompt="1"/>
          </p:nvPr>
        </p:nvSpPr>
        <p:spPr>
          <a:xfrm>
            <a:off x="395399" y="6165850"/>
            <a:ext cx="1614097" cy="71438"/>
          </a:xfrm>
          <a:solidFill>
            <a:schemeClr val="accent2">
              <a:alpha val="75000"/>
            </a:schemeClr>
          </a:solidFill>
          <a:ln>
            <a:noFill/>
          </a:ln>
        </p:spPr>
        <p:txBody>
          <a:bodyPr anchor="ctr">
            <a:noAutofit/>
          </a:bodyPr>
          <a:lstStyle>
            <a:lvl1pPr marL="0" indent="0">
              <a:buNone/>
              <a:defRPr sz="800">
                <a:solidFill>
                  <a:schemeClr val="bg1"/>
                </a:solidFill>
                <a:latin typeface="+mj-lt"/>
              </a:defRPr>
            </a:lvl1pPr>
          </a:lstStyle>
          <a:p>
            <a:pPr lvl="0"/>
            <a:r>
              <a:rPr lang="en-US"/>
              <a:t>Box2 (this text won’t show)</a:t>
            </a:r>
          </a:p>
        </p:txBody>
      </p:sp>
      <p:pic>
        <p:nvPicPr>
          <p:cNvPr id="11" name="Picture 10" descr="A picture containing text, clipart&#10;&#10;Description automatically generated">
            <a:extLst>
              <a:ext uri="{FF2B5EF4-FFF2-40B4-BE49-F238E27FC236}">
                <a16:creationId xmlns:a16="http://schemas.microsoft.com/office/drawing/2014/main" id="{7E620609-1B6C-23B9-3720-41D388FD261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2" name="TextBox 11">
            <a:extLst>
              <a:ext uri="{FF2B5EF4-FFF2-40B4-BE49-F238E27FC236}">
                <a16:creationId xmlns:a16="http://schemas.microsoft.com/office/drawing/2014/main" id="{3CA2DB5D-51D0-BCD4-255A-B4F1FAFD761F}"/>
              </a:ext>
            </a:extLst>
          </p:cNvPr>
          <p:cNvSpPr txBox="1"/>
          <p:nvPr userDrawn="1"/>
        </p:nvSpPr>
        <p:spPr>
          <a:xfrm>
            <a:off x="6893566" y="253830"/>
            <a:ext cx="1641595" cy="230832"/>
          </a:xfrm>
          <a:prstGeom prst="rect">
            <a:avLst/>
          </a:prstGeom>
          <a:noFill/>
        </p:spPr>
        <p:txBody>
          <a:bodyPr wrap="square" rtlCol="0" anchor="ctr">
            <a:spAutoFit/>
          </a:bodyPr>
          <a:lstStyle/>
          <a:p>
            <a:pPr algn="ctr"/>
            <a:r>
              <a:rPr lang="en-US" sz="900">
                <a:solidFill>
                  <a:schemeClr val="bg1"/>
                </a:solidFill>
              </a:rPr>
              <a:t>TFS INVESTMENT GROUP</a:t>
            </a:r>
            <a:endParaRPr lang="en-CA" sz="900">
              <a:solidFill>
                <a:schemeClr val="bg1"/>
              </a:solidFill>
            </a:endParaRPr>
          </a:p>
        </p:txBody>
      </p:sp>
    </p:spTree>
    <p:extLst>
      <p:ext uri="{BB962C8B-B14F-4D97-AF65-F5344CB8AC3E}">
        <p14:creationId xmlns:p14="http://schemas.microsoft.com/office/powerpoint/2010/main" val="622187772"/>
      </p:ext>
    </p:extLst>
  </p:cSld>
  <p:clrMapOvr>
    <a:masterClrMapping/>
  </p:clrMapOvr>
  <p:extLst>
    <p:ext uri="{DCECCB84-F9BA-43D5-87BE-67443E8EF086}">
      <p15:sldGuideLst xmlns:p15="http://schemas.microsoft.com/office/powerpoint/2012/main">
        <p15:guide id="1" orient="horz" pos="3362" userDrawn="1">
          <p15:clr>
            <a:srgbClr val="A4A3A4"/>
          </p15:clr>
        </p15:guide>
        <p15:guide id="2" pos="249" userDrawn="1">
          <p15:clr>
            <a:srgbClr val="A4A3A4"/>
          </p15:clr>
        </p15:guide>
        <p15:guide id="3" pos="5602" userDrawn="1">
          <p15:clr>
            <a:srgbClr val="A4A3A4"/>
          </p15:clr>
        </p15:guide>
        <p15:guide id="4" orient="horz" pos="709" userDrawn="1">
          <p15:clr>
            <a:srgbClr val="A4A3A4"/>
          </p15:clr>
        </p15:guide>
        <p15:guide id="5" orient="horz" pos="4178" userDrawn="1">
          <p15:clr>
            <a:srgbClr val="A4A3A4"/>
          </p15:clr>
        </p15:guide>
        <p15:guide id="6" orient="horz" pos="3884" userDrawn="1">
          <p15:clr>
            <a:srgbClr val="A4A3A4"/>
          </p15:clr>
        </p15:guide>
        <p15:guide id="7" orient="horz" pos="3929" userDrawn="1">
          <p15:clr>
            <a:srgbClr val="A4A3A4"/>
          </p15:clr>
        </p15:guide>
        <p15:guide id="10" orient="horz" pos="3226"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55D981C-AB7B-3A72-2B31-CB9CAACFCA25}"/>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able Placeholder 3">
            <a:extLst>
              <a:ext uri="{FF2B5EF4-FFF2-40B4-BE49-F238E27FC236}">
                <a16:creationId xmlns:a16="http://schemas.microsoft.com/office/drawing/2014/main" id="{2CC5451C-476F-473A-A288-FD83A2033519}"/>
              </a:ext>
            </a:extLst>
          </p:cNvPr>
          <p:cNvSpPr>
            <a:spLocks noGrp="1"/>
          </p:cNvSpPr>
          <p:nvPr>
            <p:ph type="tbl" sz="quarter" idx="14"/>
          </p:nvPr>
        </p:nvSpPr>
        <p:spPr>
          <a:xfrm>
            <a:off x="241557" y="1006474"/>
            <a:ext cx="8651561" cy="5267326"/>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92B416A2-0B1F-F997-F81F-B76F221003E8}"/>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9" name="Text Placeholder 28">
            <a:extLst>
              <a:ext uri="{FF2B5EF4-FFF2-40B4-BE49-F238E27FC236}">
                <a16:creationId xmlns:a16="http://schemas.microsoft.com/office/drawing/2014/main" id="{4DF1139E-20AE-3AFC-B1A0-9EB723844B95}"/>
              </a:ext>
            </a:extLst>
          </p:cNvPr>
          <p:cNvSpPr>
            <a:spLocks noGrp="1"/>
          </p:cNvSpPr>
          <p:nvPr>
            <p:ph type="body" sz="quarter" idx="13" hasCustomPrompt="1"/>
          </p:nvPr>
        </p:nvSpPr>
        <p:spPr>
          <a:xfrm>
            <a:off x="250825" y="6308724"/>
            <a:ext cx="7645400" cy="360359"/>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sp>
        <p:nvSpPr>
          <p:cNvPr id="12" name="TextBox 11">
            <a:extLst>
              <a:ext uri="{FF2B5EF4-FFF2-40B4-BE49-F238E27FC236}">
                <a16:creationId xmlns:a16="http://schemas.microsoft.com/office/drawing/2014/main" id="{467895AD-2AD3-FE56-CF82-05C0911CE28C}"/>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23" name="Straight Connector 22">
            <a:extLst>
              <a:ext uri="{FF2B5EF4-FFF2-40B4-BE49-F238E27FC236}">
                <a16:creationId xmlns:a16="http://schemas.microsoft.com/office/drawing/2014/main" id="{0DD4A9D0-249F-62A1-44CD-E79E08784FD9}"/>
              </a:ext>
            </a:extLst>
          </p:cNvPr>
          <p:cNvCxnSpPr>
            <a:cxnSpLocks/>
          </p:cNvCxnSpPr>
          <p:nvPr userDrawn="1"/>
        </p:nvCxnSpPr>
        <p:spPr>
          <a:xfrm>
            <a:off x="250825" y="584200"/>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3" name="Table 8">
            <a:extLst>
              <a:ext uri="{FF2B5EF4-FFF2-40B4-BE49-F238E27FC236}">
                <a16:creationId xmlns:a16="http://schemas.microsoft.com/office/drawing/2014/main" id="{CF429F5C-D75C-6FD0-12CB-BBD6FFAD0CF5}"/>
              </a:ext>
            </a:extLst>
          </p:cNvPr>
          <p:cNvGraphicFramePr>
            <a:graphicFrameLocks/>
          </p:cNvGraphicFramePr>
          <p:nvPr userDrawn="1"/>
        </p:nvGraphicFramePr>
        <p:xfrm>
          <a:off x="256375" y="-434857"/>
          <a:ext cx="4136238" cy="274320"/>
        </p:xfrm>
        <a:graphic>
          <a:graphicData uri="http://schemas.openxmlformats.org/drawingml/2006/table">
            <a:tbl>
              <a:tblPr firstRow="1" bandRow="1">
                <a:tableStyleId>{5C22544A-7EE6-4342-B048-85BDC9FD1C3A}</a:tableStyleId>
              </a:tblPr>
              <a:tblGrid>
                <a:gridCol w="4136238">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cxnSp>
        <p:nvCxnSpPr>
          <p:cNvPr id="7" name="Straight Connector 6">
            <a:extLst>
              <a:ext uri="{FF2B5EF4-FFF2-40B4-BE49-F238E27FC236}">
                <a16:creationId xmlns:a16="http://schemas.microsoft.com/office/drawing/2014/main" id="{6B8CDC80-B872-625A-1796-62B38E9E4722}"/>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732608"/>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4" orient="horz" pos="640" userDrawn="1">
          <p15:clr>
            <a:srgbClr val="FBAE40"/>
          </p15:clr>
        </p15:guide>
        <p15:guide id="15" orient="horz" pos="395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Premade 4x4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1000" smtClean="0">
                <a:latin typeface="+mj-lt"/>
                <a:cs typeface="Goldman Sans Regular" panose="020B0603020203020204" pitchFamily="34" charset="0"/>
              </a:rPr>
              <a:pPr algn="r"/>
              <a:t>‹#›</a:t>
            </a:fld>
            <a:endParaRPr lang="en-US" sz="12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800">
                <a:solidFill>
                  <a:schemeClr val="tx1"/>
                </a:solidFill>
                <a:latin typeface="+mj-lt"/>
                <a:cs typeface="Goldman Sans Light" panose="020B0503020203020204" pitchFamily="34" charset="0"/>
              </a:defRPr>
            </a:lvl1pPr>
          </a:lstStyle>
          <a:p>
            <a:pPr lvl="0"/>
            <a:r>
              <a:rPr lang="en-US"/>
              <a:t>Notes</a:t>
            </a:r>
          </a:p>
        </p:txBody>
      </p:sp>
      <p:sp>
        <p:nvSpPr>
          <p:cNvPr id="5" name="Content Placeholder 4">
            <a:extLst>
              <a:ext uri="{FF2B5EF4-FFF2-40B4-BE49-F238E27FC236}">
                <a16:creationId xmlns:a16="http://schemas.microsoft.com/office/drawing/2014/main" id="{7DEB5B7A-13BD-212F-FFD4-EC200A49DEC6}"/>
              </a:ext>
            </a:extLst>
          </p:cNvPr>
          <p:cNvSpPr>
            <a:spLocks noGrp="1"/>
          </p:cNvSpPr>
          <p:nvPr>
            <p:ph sz="quarter" idx="14"/>
          </p:nvPr>
        </p:nvSpPr>
        <p:spPr>
          <a:xfrm>
            <a:off x="256374" y="1304925"/>
            <a:ext cx="4136239" cy="233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Content Placeholder 4">
            <a:extLst>
              <a:ext uri="{FF2B5EF4-FFF2-40B4-BE49-F238E27FC236}">
                <a16:creationId xmlns:a16="http://schemas.microsoft.com/office/drawing/2014/main" id="{7DF97499-BAFB-917C-DF1C-A1E6EF6DE479}"/>
              </a:ext>
            </a:extLst>
          </p:cNvPr>
          <p:cNvSpPr>
            <a:spLocks noGrp="1"/>
          </p:cNvSpPr>
          <p:nvPr>
            <p:ph sz="quarter" idx="15"/>
          </p:nvPr>
        </p:nvSpPr>
        <p:spPr>
          <a:xfrm>
            <a:off x="250825" y="3937706"/>
            <a:ext cx="4141788" cy="2330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8" name="Content Placeholder 4">
            <a:extLst>
              <a:ext uri="{FF2B5EF4-FFF2-40B4-BE49-F238E27FC236}">
                <a16:creationId xmlns:a16="http://schemas.microsoft.com/office/drawing/2014/main" id="{C83C728E-B25A-339A-42B2-C4C2AC3D951E}"/>
              </a:ext>
            </a:extLst>
          </p:cNvPr>
          <p:cNvSpPr>
            <a:spLocks noGrp="1"/>
          </p:cNvSpPr>
          <p:nvPr>
            <p:ph sz="quarter" idx="19"/>
          </p:nvPr>
        </p:nvSpPr>
        <p:spPr>
          <a:xfrm>
            <a:off x="4756938" y="1304925"/>
            <a:ext cx="4136239" cy="233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9" name="Content Placeholder 4">
            <a:extLst>
              <a:ext uri="{FF2B5EF4-FFF2-40B4-BE49-F238E27FC236}">
                <a16:creationId xmlns:a16="http://schemas.microsoft.com/office/drawing/2014/main" id="{097C61F1-C8E7-C202-B14D-863127528D1B}"/>
              </a:ext>
            </a:extLst>
          </p:cNvPr>
          <p:cNvSpPr>
            <a:spLocks noGrp="1"/>
          </p:cNvSpPr>
          <p:nvPr>
            <p:ph sz="quarter" idx="20"/>
          </p:nvPr>
        </p:nvSpPr>
        <p:spPr>
          <a:xfrm>
            <a:off x="4751389" y="3937706"/>
            <a:ext cx="4141788" cy="2330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8" name="TextBox 7">
            <a:extLst>
              <a:ext uri="{FF2B5EF4-FFF2-40B4-BE49-F238E27FC236}">
                <a16:creationId xmlns:a16="http://schemas.microsoft.com/office/drawing/2014/main" id="{730785BF-9B65-0E52-6395-E8D39EDCE36A}"/>
              </a:ext>
            </a:extLst>
          </p:cNvPr>
          <p:cNvSpPr txBox="1"/>
          <p:nvPr userDrawn="1"/>
        </p:nvSpPr>
        <p:spPr>
          <a:xfrm>
            <a:off x="-1795573" y="5846426"/>
            <a:ext cx="1538175" cy="738664"/>
          </a:xfrm>
          <a:prstGeom prst="rect">
            <a:avLst/>
          </a:prstGeom>
          <a:noFill/>
        </p:spPr>
        <p:txBody>
          <a:bodyPr wrap="square" rtlCol="0">
            <a:spAutoFit/>
          </a:bodyPr>
          <a:lstStyle/>
          <a:p>
            <a:r>
              <a:rPr lang="en-US" sz="1050" i="1">
                <a:solidFill>
                  <a:schemeClr val="tx1"/>
                </a:solidFill>
              </a:rPr>
              <a:t>To get the content headers, go to Slide Master and copy paste them into your deck</a:t>
            </a:r>
            <a:endParaRPr lang="en-CA" sz="1050" i="1">
              <a:solidFill>
                <a:schemeClr val="tx1"/>
              </a:solidFill>
            </a:endParaRPr>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629154"/>
      </p:ext>
    </p:extLst>
  </p:cSld>
  <p:clrMapOvr>
    <a:masterClrMapping/>
  </p:clrMapOvr>
  <p:hf sldNum="0" hdr="0" ftr="0" dt="0"/>
  <p:extLst>
    <p:ext uri="{DCECCB84-F9BA-43D5-87BE-67443E8EF086}">
      <p15:sldGuideLst xmlns:p15="http://schemas.microsoft.com/office/powerpoint/2012/main">
        <p15:guide id="2" pos="5602">
          <p15:clr>
            <a:srgbClr val="F26B43"/>
          </p15:clr>
        </p15:guide>
        <p15:guide id="5" pos="158">
          <p15:clr>
            <a:srgbClr val="F26B43"/>
          </p15:clr>
        </p15:guide>
        <p15:guide id="8" orient="horz" pos="4201">
          <p15:clr>
            <a:srgbClr val="A4A3A4"/>
          </p15:clr>
        </p15:guide>
        <p15:guide id="9" orient="horz" pos="119">
          <p15:clr>
            <a:srgbClr val="A4A3A4"/>
          </p15:clr>
        </p15:guide>
        <p15:guide id="10" pos="2993">
          <p15:clr>
            <a:srgbClr val="F26B43"/>
          </p15:clr>
        </p15:guide>
        <p15:guide id="11" pos="2767">
          <p15:clr>
            <a:srgbClr val="F26B43"/>
          </p15:clr>
        </p15:guide>
        <p15:guide id="14" orient="horz" pos="640">
          <p15:clr>
            <a:srgbClr val="FBAE40"/>
          </p15:clr>
        </p15:guide>
        <p15:guide id="17" orient="horz" pos="3974">
          <p15:clr>
            <a:srgbClr val="F26B43"/>
          </p15:clr>
        </p15:guide>
        <p15:guide id="18" orient="horz" pos="2296">
          <p15:clr>
            <a:srgbClr val="FBAE40"/>
          </p15:clr>
        </p15:guide>
        <p15:guide id="19" orient="horz" pos="2478">
          <p15:clr>
            <a:srgbClr val="FBAE40"/>
          </p15:clr>
        </p15:guide>
        <p15:guide id="22" orient="horz" pos="822">
          <p15:clr>
            <a:srgbClr val="FBAE40"/>
          </p15:clr>
        </p15:guide>
        <p15:guide id="23" orient="horz" pos="368">
          <p15:clr>
            <a:srgbClr val="FBAE40"/>
          </p15:clr>
        </p15:guide>
        <p15:guide id="24" orient="horz" pos="39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55D981C-AB7B-3A72-2B31-CB9CAACFCA25}"/>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able Placeholder 3">
            <a:extLst>
              <a:ext uri="{FF2B5EF4-FFF2-40B4-BE49-F238E27FC236}">
                <a16:creationId xmlns:a16="http://schemas.microsoft.com/office/drawing/2014/main" id="{2CC5451C-476F-473A-A288-FD83A2033519}"/>
              </a:ext>
            </a:extLst>
          </p:cNvPr>
          <p:cNvSpPr>
            <a:spLocks noGrp="1"/>
          </p:cNvSpPr>
          <p:nvPr>
            <p:ph type="tbl" sz="quarter" idx="14"/>
          </p:nvPr>
        </p:nvSpPr>
        <p:spPr>
          <a:xfrm>
            <a:off x="250825" y="1006475"/>
            <a:ext cx="8642293" cy="5194298"/>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92B416A2-0B1F-F997-F81F-B76F221003E8}"/>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sp>
        <p:nvSpPr>
          <p:cNvPr id="9" name="Text Placeholder 28">
            <a:extLst>
              <a:ext uri="{FF2B5EF4-FFF2-40B4-BE49-F238E27FC236}">
                <a16:creationId xmlns:a16="http://schemas.microsoft.com/office/drawing/2014/main" id="{4DF1139E-20AE-3AFC-B1A0-9EB723844B95}"/>
              </a:ext>
            </a:extLst>
          </p:cNvPr>
          <p:cNvSpPr>
            <a:spLocks noGrp="1"/>
          </p:cNvSpPr>
          <p:nvPr>
            <p:ph type="body" sz="quarter" idx="13" hasCustomPrompt="1"/>
          </p:nvPr>
        </p:nvSpPr>
        <p:spPr>
          <a:xfrm>
            <a:off x="250825" y="6308724"/>
            <a:ext cx="7645400" cy="360359"/>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sp>
        <p:nvSpPr>
          <p:cNvPr id="12" name="TextBox 11">
            <a:extLst>
              <a:ext uri="{FF2B5EF4-FFF2-40B4-BE49-F238E27FC236}">
                <a16:creationId xmlns:a16="http://schemas.microsoft.com/office/drawing/2014/main" id="{467895AD-2AD3-FE56-CF82-05C0911CE28C}"/>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23" name="Straight Connector 22">
            <a:extLst>
              <a:ext uri="{FF2B5EF4-FFF2-40B4-BE49-F238E27FC236}">
                <a16:creationId xmlns:a16="http://schemas.microsoft.com/office/drawing/2014/main" id="{0DD4A9D0-249F-62A1-44CD-E79E08784FD9}"/>
              </a:ext>
            </a:extLst>
          </p:cNvPr>
          <p:cNvCxnSpPr>
            <a:cxnSpLocks/>
          </p:cNvCxnSpPr>
          <p:nvPr userDrawn="1"/>
        </p:nvCxnSpPr>
        <p:spPr>
          <a:xfrm>
            <a:off x="250825" y="584200"/>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3" name="Table 8">
            <a:extLst>
              <a:ext uri="{FF2B5EF4-FFF2-40B4-BE49-F238E27FC236}">
                <a16:creationId xmlns:a16="http://schemas.microsoft.com/office/drawing/2014/main" id="{CF429F5C-D75C-6FD0-12CB-BBD6FFAD0CF5}"/>
              </a:ext>
            </a:extLst>
          </p:cNvPr>
          <p:cNvGraphicFramePr>
            <a:graphicFrameLocks/>
          </p:cNvGraphicFramePr>
          <p:nvPr userDrawn="1">
            <p:extLst>
              <p:ext uri="{D42A27DB-BD31-4B8C-83A1-F6EECF244321}">
                <p14:modId xmlns:p14="http://schemas.microsoft.com/office/powerpoint/2010/main" val="3043552226"/>
              </p:ext>
            </p:extLst>
          </p:nvPr>
        </p:nvGraphicFramePr>
        <p:xfrm>
          <a:off x="256375" y="-434857"/>
          <a:ext cx="4136238" cy="274320"/>
        </p:xfrm>
        <a:graphic>
          <a:graphicData uri="http://schemas.openxmlformats.org/drawingml/2006/table">
            <a:tbl>
              <a:tblPr firstRow="1" bandRow="1">
                <a:tableStyleId>{5C22544A-7EE6-4342-B048-85BDC9FD1C3A}</a:tableStyleId>
              </a:tblPr>
              <a:tblGrid>
                <a:gridCol w="4136238">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cxnSp>
        <p:nvCxnSpPr>
          <p:cNvPr id="7" name="Straight Connector 6">
            <a:extLst>
              <a:ext uri="{FF2B5EF4-FFF2-40B4-BE49-F238E27FC236}">
                <a16:creationId xmlns:a16="http://schemas.microsoft.com/office/drawing/2014/main" id="{6B8CDC80-B872-625A-1796-62B38E9E4722}"/>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732608"/>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4" orient="horz" pos="640" userDrawn="1">
          <p15:clr>
            <a:srgbClr val="FBAE40"/>
          </p15:clr>
        </p15:guide>
        <p15:guide id="15" orient="horz" pos="390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x4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89"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8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Content Placeholder 4">
            <a:extLst>
              <a:ext uri="{FF2B5EF4-FFF2-40B4-BE49-F238E27FC236}">
                <a16:creationId xmlns:a16="http://schemas.microsoft.com/office/drawing/2014/main" id="{67473D30-D304-DC63-643D-824F5B4A2F77}"/>
              </a:ext>
            </a:extLst>
          </p:cNvPr>
          <p:cNvSpPr>
            <a:spLocks noGrp="1"/>
          </p:cNvSpPr>
          <p:nvPr>
            <p:ph sz="quarter" idx="30"/>
          </p:nvPr>
        </p:nvSpPr>
        <p:spPr>
          <a:xfrm>
            <a:off x="4751388"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Google Shape;53;p21">
            <a:extLst>
              <a:ext uri="{FF2B5EF4-FFF2-40B4-BE49-F238E27FC236}">
                <a16:creationId xmlns:a16="http://schemas.microsoft.com/office/drawing/2014/main" id="{16066008-2BE6-0C46-C911-28D9B559BC17}"/>
              </a:ext>
            </a:extLst>
          </p:cNvPr>
          <p:cNvSpPr txBox="1">
            <a:spLocks noGrp="1"/>
          </p:cNvSpPr>
          <p:nvPr>
            <p:ph type="body" idx="31"/>
          </p:nvPr>
        </p:nvSpPr>
        <p:spPr>
          <a:xfrm>
            <a:off x="4751389"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8" name="Straight Connector 27">
            <a:extLst>
              <a:ext uri="{FF2B5EF4-FFF2-40B4-BE49-F238E27FC236}">
                <a16:creationId xmlns:a16="http://schemas.microsoft.com/office/drawing/2014/main" id="{F1F99845-067D-05A9-24EA-9D86C4AD5958}"/>
              </a:ext>
            </a:extLst>
          </p:cNvPr>
          <p:cNvCxnSpPr>
            <a:cxnSpLocks/>
          </p:cNvCxnSpPr>
          <p:nvPr userDrawn="1"/>
        </p:nvCxnSpPr>
        <p:spPr>
          <a:xfrm>
            <a:off x="475138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562269"/>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4" orient="horz" pos="3906" userDrawn="1">
          <p15:clr>
            <a:srgbClr val="FBAE40"/>
          </p15:clr>
        </p15:guide>
        <p15:guide id="25" orient="horz" pos="867" userDrawn="1">
          <p15:clr>
            <a:srgbClr val="FBAE40"/>
          </p15:clr>
        </p15:guide>
        <p15:guide id="26" orient="horz" pos="2251" userDrawn="1">
          <p15:clr>
            <a:srgbClr val="FBAE40"/>
          </p15:clr>
        </p15:guide>
        <p15:guide id="27" orient="horz" pos="252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x1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89"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8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864234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864234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4"/>
            <a:ext cx="8642350"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843728401"/>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9" orient="horz" pos="2523" userDrawn="1">
          <p15:clr>
            <a:srgbClr val="FBAE40"/>
          </p15:clr>
        </p15:guide>
        <p15:guide id="22" orient="horz" pos="867" userDrawn="1">
          <p15:clr>
            <a:srgbClr val="FBAE40"/>
          </p15:clr>
        </p15:guide>
        <p15:guide id="24" orient="horz" pos="390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x2 Content Slide">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4" y="1384299"/>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6" y="1016000"/>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7"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5"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5" name="Content Placeholder 4">
            <a:extLst>
              <a:ext uri="{FF2B5EF4-FFF2-40B4-BE49-F238E27FC236}">
                <a16:creationId xmlns:a16="http://schemas.microsoft.com/office/drawing/2014/main" id="{67473D30-D304-DC63-643D-824F5B4A2F77}"/>
              </a:ext>
            </a:extLst>
          </p:cNvPr>
          <p:cNvSpPr>
            <a:spLocks noGrp="1"/>
          </p:cNvSpPr>
          <p:nvPr>
            <p:ph sz="quarter" idx="30"/>
          </p:nvPr>
        </p:nvSpPr>
        <p:spPr>
          <a:xfrm>
            <a:off x="4751388"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7" name="Google Shape;53;p21">
            <a:extLst>
              <a:ext uri="{FF2B5EF4-FFF2-40B4-BE49-F238E27FC236}">
                <a16:creationId xmlns:a16="http://schemas.microsoft.com/office/drawing/2014/main" id="{16066008-2BE6-0C46-C911-28D9B559BC17}"/>
              </a:ext>
            </a:extLst>
          </p:cNvPr>
          <p:cNvSpPr txBox="1">
            <a:spLocks noGrp="1"/>
          </p:cNvSpPr>
          <p:nvPr>
            <p:ph type="body" idx="31"/>
          </p:nvPr>
        </p:nvSpPr>
        <p:spPr>
          <a:xfrm>
            <a:off x="4751389"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8" name="Straight Connector 27">
            <a:extLst>
              <a:ext uri="{FF2B5EF4-FFF2-40B4-BE49-F238E27FC236}">
                <a16:creationId xmlns:a16="http://schemas.microsoft.com/office/drawing/2014/main" id="{F1F99845-067D-05A9-24EA-9D86C4AD5958}"/>
              </a:ext>
            </a:extLst>
          </p:cNvPr>
          <p:cNvCxnSpPr>
            <a:cxnSpLocks/>
          </p:cNvCxnSpPr>
          <p:nvPr userDrawn="1"/>
        </p:nvCxnSpPr>
        <p:spPr>
          <a:xfrm>
            <a:off x="475138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22073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19" orient="horz" pos="2523" userDrawn="1">
          <p15:clr>
            <a:srgbClr val="FBAE40"/>
          </p15:clr>
        </p15:guide>
        <p15:guide id="22" orient="horz" pos="867" userDrawn="1">
          <p15:clr>
            <a:srgbClr val="FBAE40"/>
          </p15:clr>
        </p15:guide>
        <p15:guide id="24" orient="horz" pos="3906" userDrawn="1">
          <p15:clr>
            <a:srgbClr val="FBAE40"/>
          </p15:clr>
        </p15:guide>
        <p15:guide id="25" orient="horz" pos="225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x1 Content Slide (Horizontal)">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4" y="1384299"/>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6" y="1016000"/>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Google Shape;53;p21">
            <a:extLst>
              <a:ext uri="{FF2B5EF4-FFF2-40B4-BE49-F238E27FC236}">
                <a16:creationId xmlns:a16="http://schemas.microsoft.com/office/drawing/2014/main" id="{7BBA6BEF-8F73-EF6B-9AC6-5C4EA5157BA1}"/>
              </a:ext>
            </a:extLst>
          </p:cNvPr>
          <p:cNvSpPr txBox="1">
            <a:spLocks noGrp="1"/>
          </p:cNvSpPr>
          <p:nvPr>
            <p:ph type="body" idx="27"/>
          </p:nvPr>
        </p:nvSpPr>
        <p:spPr>
          <a:xfrm>
            <a:off x="250826" y="3646218"/>
            <a:ext cx="8642345"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2" name="Straight Connector 21">
            <a:extLst>
              <a:ext uri="{FF2B5EF4-FFF2-40B4-BE49-F238E27FC236}">
                <a16:creationId xmlns:a16="http://schemas.microsoft.com/office/drawing/2014/main" id="{71357B8D-2179-F498-AD25-DBDAC5F0F78F}"/>
              </a:ext>
            </a:extLst>
          </p:cNvPr>
          <p:cNvCxnSpPr>
            <a:cxnSpLocks/>
          </p:cNvCxnSpPr>
          <p:nvPr userDrawn="1"/>
        </p:nvCxnSpPr>
        <p:spPr>
          <a:xfrm>
            <a:off x="250826" y="3935143"/>
            <a:ext cx="864234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B8A95733-7F9D-BF7C-AB12-5D91B59E2342}"/>
              </a:ext>
            </a:extLst>
          </p:cNvPr>
          <p:cNvSpPr>
            <a:spLocks noGrp="1"/>
          </p:cNvSpPr>
          <p:nvPr>
            <p:ph sz="quarter" idx="29"/>
          </p:nvPr>
        </p:nvSpPr>
        <p:spPr>
          <a:xfrm>
            <a:off x="250824" y="4015454"/>
            <a:ext cx="8642349"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1603198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8" orient="horz" pos="2251" userDrawn="1">
          <p15:clr>
            <a:srgbClr val="FBAE40"/>
          </p15:clr>
        </p15:guide>
        <p15:guide id="19" orient="horz" pos="2523" userDrawn="1">
          <p15:clr>
            <a:srgbClr val="FBAE40"/>
          </p15:clr>
        </p15:guide>
        <p15:guide id="22" orient="horz" pos="867" userDrawn="1">
          <p15:clr>
            <a:srgbClr val="FBAE40"/>
          </p15:clr>
        </p15:guide>
        <p15:guide id="24" orient="horz" pos="39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x1 Content Slide (Vertical)">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oogle Shape;53;p21">
            <a:extLst>
              <a:ext uri="{FF2B5EF4-FFF2-40B4-BE49-F238E27FC236}">
                <a16:creationId xmlns:a16="http://schemas.microsoft.com/office/drawing/2014/main" id="{138331F1-8119-510F-30BA-1F8EC1B71C66}"/>
              </a:ext>
            </a:extLst>
          </p:cNvPr>
          <p:cNvSpPr txBox="1">
            <a:spLocks noGrp="1"/>
          </p:cNvSpPr>
          <p:nvPr>
            <p:ph type="body" idx="22"/>
          </p:nvPr>
        </p:nvSpPr>
        <p:spPr>
          <a:xfrm>
            <a:off x="4751389"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299"/>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cxnSp>
        <p:nvCxnSpPr>
          <p:cNvPr id="16" name="Straight Connector 15">
            <a:extLst>
              <a:ext uri="{FF2B5EF4-FFF2-40B4-BE49-F238E27FC236}">
                <a16:creationId xmlns:a16="http://schemas.microsoft.com/office/drawing/2014/main" id="{3C49D8AA-92E3-7D31-5CFC-96C532E57D61}"/>
              </a:ext>
            </a:extLst>
          </p:cNvPr>
          <p:cNvCxnSpPr>
            <a:cxnSpLocks/>
          </p:cNvCxnSpPr>
          <p:nvPr userDrawn="1"/>
        </p:nvCxnSpPr>
        <p:spPr>
          <a:xfrm>
            <a:off x="475138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4CB83F76-5048-8D2B-40DA-DFD423E49FF5}"/>
              </a:ext>
            </a:extLst>
          </p:cNvPr>
          <p:cNvSpPr>
            <a:spLocks noGrp="1"/>
          </p:cNvSpPr>
          <p:nvPr>
            <p:ph sz="quarter" idx="28"/>
          </p:nvPr>
        </p:nvSpPr>
        <p:spPr>
          <a:xfrm>
            <a:off x="4751388" y="1384299"/>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221552074"/>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2" orient="horz" pos="867" userDrawn="1">
          <p15:clr>
            <a:srgbClr val="FBAE40"/>
          </p15:clr>
        </p15:guide>
        <p15:guide id="24" orient="horz" pos="390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x2 Content Slide (Vertical)">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3E575FE-BACC-4E3E-930D-94EE3985ED90}"/>
              </a:ext>
            </a:extLst>
          </p:cNvPr>
          <p:cNvSpPr txBox="1">
            <a:spLocks noChangeAspect="1"/>
          </p:cNvSpPr>
          <p:nvPr userDrawn="1"/>
        </p:nvSpPr>
        <p:spPr>
          <a:xfrm>
            <a:off x="8606599" y="6273800"/>
            <a:ext cx="286576" cy="584195"/>
          </a:xfrm>
          <a:prstGeom prst="rect">
            <a:avLst/>
          </a:prstGeom>
          <a:noFill/>
        </p:spPr>
        <p:txBody>
          <a:bodyPr wrap="square" rIns="0" rtlCol="0" anchor="ctr">
            <a:noAutofit/>
          </a:bodyPr>
          <a:lstStyle/>
          <a:p>
            <a:pPr algn="r"/>
            <a:fld id="{8A15F205-7D98-4B7A-8DEA-3CCCDE55FD6E}" type="slidenum">
              <a:rPr lang="en-US" sz="900" smtClean="0">
                <a:latin typeface="+mj-lt"/>
                <a:cs typeface="Goldman Sans Regular" panose="020B0603020203020204" pitchFamily="34" charset="0"/>
              </a:rPr>
              <a:pPr algn="r"/>
              <a:t>‹#›</a:t>
            </a:fld>
            <a:endParaRPr lang="en-US" sz="1100">
              <a:latin typeface="+mj-lt"/>
              <a:cs typeface="Goldman Sans Regular" panose="020B0603020203020204" pitchFamily="34" charset="0"/>
            </a:endParaRPr>
          </a:p>
        </p:txBody>
      </p:sp>
      <p:cxnSp>
        <p:nvCxnSpPr>
          <p:cNvPr id="31" name="Straight Connector 30">
            <a:extLst>
              <a:ext uri="{FF2B5EF4-FFF2-40B4-BE49-F238E27FC236}">
                <a16:creationId xmlns:a16="http://schemas.microsoft.com/office/drawing/2014/main" id="{F144434E-2B72-4B39-878D-DFF30501A17E}"/>
              </a:ext>
            </a:extLst>
          </p:cNvPr>
          <p:cNvCxnSpPr>
            <a:cxnSpLocks/>
          </p:cNvCxnSpPr>
          <p:nvPr userDrawn="1"/>
        </p:nvCxnSpPr>
        <p:spPr>
          <a:xfrm>
            <a:off x="250825" y="58455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8">
            <a:extLst>
              <a:ext uri="{FF2B5EF4-FFF2-40B4-BE49-F238E27FC236}">
                <a16:creationId xmlns:a16="http://schemas.microsoft.com/office/drawing/2014/main" id="{9BDD8D14-9849-82C0-2E9A-5F389B18C67F}"/>
              </a:ext>
            </a:extLst>
          </p:cNvPr>
          <p:cNvSpPr>
            <a:spLocks noGrp="1"/>
          </p:cNvSpPr>
          <p:nvPr>
            <p:ph type="body" sz="quarter" idx="13" hasCustomPrompt="1"/>
          </p:nvPr>
        </p:nvSpPr>
        <p:spPr>
          <a:xfrm>
            <a:off x="250825" y="6308724"/>
            <a:ext cx="8355774" cy="360357"/>
          </a:xfrm>
        </p:spPr>
        <p:txBody>
          <a:bodyPr wrap="none" tIns="0" bIns="0" anchor="t">
            <a:noAutofit/>
          </a:bodyPr>
          <a:lstStyle>
            <a:lvl1pPr marL="0" indent="0">
              <a:lnSpc>
                <a:spcPct val="100000"/>
              </a:lnSpc>
              <a:spcBef>
                <a:spcPts val="0"/>
              </a:spcBef>
              <a:buNone/>
              <a:defRPr sz="700">
                <a:solidFill>
                  <a:schemeClr val="tx1"/>
                </a:solidFill>
                <a:latin typeface="+mj-lt"/>
                <a:cs typeface="Goldman Sans Light" panose="020B0503020203020204" pitchFamily="34" charset="0"/>
              </a:defRPr>
            </a:lvl1pPr>
          </a:lstStyle>
          <a:p>
            <a:pPr lvl="0"/>
            <a:r>
              <a:rPr lang="en-US"/>
              <a:t>Notes</a:t>
            </a:r>
          </a:p>
        </p:txBody>
      </p:sp>
      <p:graphicFrame>
        <p:nvGraphicFramePr>
          <p:cNvPr id="14" name="Table 8">
            <a:extLst>
              <a:ext uri="{FF2B5EF4-FFF2-40B4-BE49-F238E27FC236}">
                <a16:creationId xmlns:a16="http://schemas.microsoft.com/office/drawing/2014/main" id="{052390DD-58CB-2D23-1289-92122EF912C4}"/>
              </a:ext>
            </a:extLst>
          </p:cNvPr>
          <p:cNvGraphicFramePr>
            <a:graphicFrameLocks/>
          </p:cNvGraphicFramePr>
          <p:nvPr userDrawn="1">
            <p:extLst>
              <p:ext uri="{D42A27DB-BD31-4B8C-83A1-F6EECF244321}">
                <p14:modId xmlns:p14="http://schemas.microsoft.com/office/powerpoint/2010/main" val="3550828240"/>
              </p:ext>
            </p:extLst>
          </p:nvPr>
        </p:nvGraphicFramePr>
        <p:xfrm>
          <a:off x="256375" y="-297850"/>
          <a:ext cx="4106220" cy="274320"/>
        </p:xfrm>
        <a:graphic>
          <a:graphicData uri="http://schemas.openxmlformats.org/drawingml/2006/table">
            <a:tbl>
              <a:tblPr firstRow="1" bandRow="1">
                <a:tableStyleId>{5C22544A-7EE6-4342-B048-85BDC9FD1C3A}</a:tableStyleId>
              </a:tblPr>
              <a:tblGrid>
                <a:gridCol w="4106220">
                  <a:extLst>
                    <a:ext uri="{9D8B030D-6E8A-4147-A177-3AD203B41FA5}">
                      <a16:colId xmlns:a16="http://schemas.microsoft.com/office/drawing/2014/main" val="3437084154"/>
                    </a:ext>
                  </a:extLst>
                </a:gridCol>
              </a:tblGrid>
              <a:tr h="0">
                <a:tc>
                  <a:txBody>
                    <a:bodyPr/>
                    <a:lstStyle/>
                    <a:p>
                      <a:r>
                        <a:rPr lang="en-US" sz="1200" b="1">
                          <a:solidFill>
                            <a:schemeClr val="tx2"/>
                          </a:solidFill>
                        </a:rPr>
                        <a:t>Copy From Slide Master</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Text Placeholder 6">
            <a:extLst>
              <a:ext uri="{FF2B5EF4-FFF2-40B4-BE49-F238E27FC236}">
                <a16:creationId xmlns:a16="http://schemas.microsoft.com/office/drawing/2014/main" id="{7D7F52A8-7E08-9B32-AB30-410A7BF98C0B}"/>
              </a:ext>
            </a:extLst>
          </p:cNvPr>
          <p:cNvSpPr>
            <a:spLocks noGrp="1"/>
          </p:cNvSpPr>
          <p:nvPr>
            <p:ph type="body" sz="quarter" idx="21" hasCustomPrompt="1"/>
          </p:nvPr>
        </p:nvSpPr>
        <p:spPr>
          <a:xfrm>
            <a:off x="250825" y="584200"/>
            <a:ext cx="8642350" cy="422275"/>
          </a:xfrm>
        </p:spPr>
        <p:txBody>
          <a:bodyPr>
            <a:normAutofit/>
          </a:bodyPr>
          <a:lstStyle>
            <a:lvl1pPr marL="0" indent="0">
              <a:buNone/>
              <a:defRPr sz="1400">
                <a:solidFill>
                  <a:schemeClr val="tx2"/>
                </a:solidFill>
              </a:defRPr>
            </a:lvl1pPr>
          </a:lstStyle>
          <a:p>
            <a:pPr lvl="0"/>
            <a:r>
              <a:rPr lang="en-US" sz="1400"/>
              <a:t>Subtitle</a:t>
            </a:r>
            <a:endParaRPr lang="en-CA"/>
          </a:p>
        </p:txBody>
      </p:sp>
      <p:sp>
        <p:nvSpPr>
          <p:cNvPr id="4" name="Title 1">
            <a:extLst>
              <a:ext uri="{FF2B5EF4-FFF2-40B4-BE49-F238E27FC236}">
                <a16:creationId xmlns:a16="http://schemas.microsoft.com/office/drawing/2014/main" id="{1861B05A-F8AA-607A-3BF8-34A84871683E}"/>
              </a:ext>
            </a:extLst>
          </p:cNvPr>
          <p:cNvSpPr>
            <a:spLocks noGrp="1"/>
          </p:cNvSpPr>
          <p:nvPr>
            <p:ph type="title" hasCustomPrompt="1"/>
          </p:nvPr>
        </p:nvSpPr>
        <p:spPr>
          <a:xfrm>
            <a:off x="250825" y="187581"/>
            <a:ext cx="6658698" cy="395751"/>
          </a:xfrm>
        </p:spPr>
        <p:txBody>
          <a:bodyPr wrap="none" tIns="0" bIns="0" anchor="ctr">
            <a:noAutofit/>
          </a:bodyPr>
          <a:lstStyle>
            <a:lvl1pPr>
              <a:defRPr sz="2000" b="1">
                <a:latin typeface="+mj-lt"/>
                <a:cs typeface="Goldman Sans Bold" panose="020B0803020203020204" pitchFamily="34" charset="0"/>
              </a:defRPr>
            </a:lvl1pPr>
          </a:lstStyle>
          <a:p>
            <a:r>
              <a:rPr lang="en-US"/>
              <a:t>Title</a:t>
            </a:r>
          </a:p>
        </p:txBody>
      </p:sp>
      <p:cxnSp>
        <p:nvCxnSpPr>
          <p:cNvPr id="9" name="Straight Connector 8">
            <a:extLst>
              <a:ext uri="{FF2B5EF4-FFF2-40B4-BE49-F238E27FC236}">
                <a16:creationId xmlns:a16="http://schemas.microsoft.com/office/drawing/2014/main" id="{DF46A84A-220A-011A-828F-2AA02D808A2F}"/>
              </a:ext>
            </a:extLst>
          </p:cNvPr>
          <p:cNvCxnSpPr>
            <a:cxnSpLocks/>
          </p:cNvCxnSpPr>
          <p:nvPr userDrawn="1"/>
        </p:nvCxnSpPr>
        <p:spPr>
          <a:xfrm>
            <a:off x="250825" y="6273975"/>
            <a:ext cx="86423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778FF9A2-D036-D1CA-7F64-D989AE17E27C}"/>
              </a:ext>
            </a:extLst>
          </p:cNvPr>
          <p:cNvSpPr>
            <a:spLocks noGrp="1"/>
          </p:cNvSpPr>
          <p:nvPr>
            <p:ph sz="quarter" idx="23"/>
          </p:nvPr>
        </p:nvSpPr>
        <p:spPr>
          <a:xfrm>
            <a:off x="250825" y="1384299"/>
            <a:ext cx="4141788" cy="4809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7" name="Google Shape;53;p21">
            <a:extLst>
              <a:ext uri="{FF2B5EF4-FFF2-40B4-BE49-F238E27FC236}">
                <a16:creationId xmlns:a16="http://schemas.microsoft.com/office/drawing/2014/main" id="{6461BAD3-0E23-E269-747C-EF2AA191735F}"/>
              </a:ext>
            </a:extLst>
          </p:cNvPr>
          <p:cNvSpPr txBox="1">
            <a:spLocks noGrp="1"/>
          </p:cNvSpPr>
          <p:nvPr>
            <p:ph type="body" idx="26"/>
          </p:nvPr>
        </p:nvSpPr>
        <p:spPr>
          <a:xfrm>
            <a:off x="250827"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20" name="Straight Connector 19">
            <a:extLst>
              <a:ext uri="{FF2B5EF4-FFF2-40B4-BE49-F238E27FC236}">
                <a16:creationId xmlns:a16="http://schemas.microsoft.com/office/drawing/2014/main" id="{8829D08B-2A35-80ED-F0D2-A3C661336930}"/>
              </a:ext>
            </a:extLst>
          </p:cNvPr>
          <p:cNvCxnSpPr>
            <a:cxnSpLocks/>
          </p:cNvCxnSpPr>
          <p:nvPr userDrawn="1"/>
        </p:nvCxnSpPr>
        <p:spPr>
          <a:xfrm>
            <a:off x="250826"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Google Shape;53;p21">
            <a:extLst>
              <a:ext uri="{FF2B5EF4-FFF2-40B4-BE49-F238E27FC236}">
                <a16:creationId xmlns:a16="http://schemas.microsoft.com/office/drawing/2014/main" id="{10550B5A-EBB2-4ED7-AE01-276FB8EB559F}"/>
              </a:ext>
            </a:extLst>
          </p:cNvPr>
          <p:cNvSpPr txBox="1">
            <a:spLocks noGrp="1"/>
          </p:cNvSpPr>
          <p:nvPr>
            <p:ph type="body" idx="22"/>
          </p:nvPr>
        </p:nvSpPr>
        <p:spPr>
          <a:xfrm>
            <a:off x="4751389" y="1016000"/>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6" name="Straight Connector 5">
            <a:extLst>
              <a:ext uri="{FF2B5EF4-FFF2-40B4-BE49-F238E27FC236}">
                <a16:creationId xmlns:a16="http://schemas.microsoft.com/office/drawing/2014/main" id="{CE053653-BB11-23B5-A2BE-E385BA51B025}"/>
              </a:ext>
            </a:extLst>
          </p:cNvPr>
          <p:cNvCxnSpPr>
            <a:cxnSpLocks/>
          </p:cNvCxnSpPr>
          <p:nvPr userDrawn="1"/>
        </p:nvCxnSpPr>
        <p:spPr>
          <a:xfrm>
            <a:off x="4751388" y="1304925"/>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Content Placeholder 4">
            <a:extLst>
              <a:ext uri="{FF2B5EF4-FFF2-40B4-BE49-F238E27FC236}">
                <a16:creationId xmlns:a16="http://schemas.microsoft.com/office/drawing/2014/main" id="{8850C138-787A-AA16-0EBE-E16C777B226A}"/>
              </a:ext>
            </a:extLst>
          </p:cNvPr>
          <p:cNvSpPr>
            <a:spLocks noGrp="1"/>
          </p:cNvSpPr>
          <p:nvPr>
            <p:ph sz="quarter" idx="28"/>
          </p:nvPr>
        </p:nvSpPr>
        <p:spPr>
          <a:xfrm>
            <a:off x="4751388" y="1384299"/>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0" name="Content Placeholder 4">
            <a:extLst>
              <a:ext uri="{FF2B5EF4-FFF2-40B4-BE49-F238E27FC236}">
                <a16:creationId xmlns:a16="http://schemas.microsoft.com/office/drawing/2014/main" id="{EDFF8629-AF17-3291-E716-E103B0688DC0}"/>
              </a:ext>
            </a:extLst>
          </p:cNvPr>
          <p:cNvSpPr>
            <a:spLocks noGrp="1"/>
          </p:cNvSpPr>
          <p:nvPr>
            <p:ph sz="quarter" idx="30"/>
          </p:nvPr>
        </p:nvSpPr>
        <p:spPr>
          <a:xfrm>
            <a:off x="4751388" y="4015454"/>
            <a:ext cx="4141788" cy="217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2" name="Google Shape;53;p21">
            <a:extLst>
              <a:ext uri="{FF2B5EF4-FFF2-40B4-BE49-F238E27FC236}">
                <a16:creationId xmlns:a16="http://schemas.microsoft.com/office/drawing/2014/main" id="{C61387F0-5599-92FD-B37D-CF984C8AD5C6}"/>
              </a:ext>
            </a:extLst>
          </p:cNvPr>
          <p:cNvSpPr txBox="1">
            <a:spLocks noGrp="1"/>
          </p:cNvSpPr>
          <p:nvPr>
            <p:ph type="body" idx="31"/>
          </p:nvPr>
        </p:nvSpPr>
        <p:spPr>
          <a:xfrm>
            <a:off x="4751389" y="3646218"/>
            <a:ext cx="4141786" cy="288925"/>
          </a:xfrm>
          <a:prstGeom prst="rect">
            <a:avLst/>
          </a:prstGeom>
          <a:noFill/>
          <a:ln>
            <a:noFill/>
          </a:ln>
        </p:spPr>
        <p:txBody>
          <a:bodyPr spcFirstLastPara="1" wrap="square" lIns="91425" tIns="45700" rIns="91425" bIns="45700" anchor="ctr" anchorCtr="0">
            <a:normAutofit/>
          </a:bodyPr>
          <a:lstStyle>
            <a:lvl1pPr marL="0" lvl="0" indent="0" algn="l">
              <a:spcBef>
                <a:spcPts val="0"/>
              </a:spcBef>
              <a:spcAft>
                <a:spcPts val="0"/>
              </a:spcAft>
              <a:buClr>
                <a:schemeClr val="accent1"/>
              </a:buClr>
              <a:buSzPts val="1600"/>
              <a:buNone/>
              <a:defRPr sz="1200" b="1">
                <a:solidFill>
                  <a:schemeClr val="accent1"/>
                </a:solidFill>
              </a:defRPr>
            </a:lvl1pPr>
            <a:lvl2pPr marL="685800" lvl="1" indent="-257175" algn="l">
              <a:spcBef>
                <a:spcPts val="450"/>
              </a:spcBef>
              <a:spcAft>
                <a:spcPts val="0"/>
              </a:spcAft>
              <a:buSzPts val="1800"/>
              <a:buChar char="•"/>
              <a:defRPr/>
            </a:lvl2pPr>
            <a:lvl3pPr marL="1028700" lvl="2" indent="-257175" algn="l">
              <a:spcBef>
                <a:spcPts val="0"/>
              </a:spcBef>
              <a:spcAft>
                <a:spcPts val="0"/>
              </a:spcAft>
              <a:buSzPts val="1800"/>
              <a:buChar char="•"/>
              <a:defRPr/>
            </a:lvl3pPr>
            <a:lvl4pPr marL="1371600" lvl="3" indent="-257175" algn="l">
              <a:spcBef>
                <a:spcPts val="450"/>
              </a:spcBef>
              <a:spcAft>
                <a:spcPts val="0"/>
              </a:spcAft>
              <a:buSzPts val="1800"/>
              <a:buChar char="•"/>
              <a:defRPr/>
            </a:lvl4pPr>
            <a:lvl5pPr marL="1714500" lvl="4" indent="-257175" algn="l">
              <a:spcBef>
                <a:spcPts val="450"/>
              </a:spcBef>
              <a:spcAft>
                <a:spcPts val="0"/>
              </a:spcAft>
              <a:buSzPts val="1800"/>
              <a:buChar char="•"/>
              <a:defRPr/>
            </a:lvl5pPr>
            <a:lvl6pPr marL="2057400" lvl="5" indent="-171450">
              <a:spcBef>
                <a:spcPts val="450"/>
              </a:spcBef>
              <a:spcAft>
                <a:spcPts val="0"/>
              </a:spcAft>
              <a:buSzPts val="1400"/>
              <a:buNone/>
              <a:defRPr/>
            </a:lvl6pPr>
            <a:lvl7pPr marL="2400300" lvl="6" indent="-171450">
              <a:spcBef>
                <a:spcPts val="0"/>
              </a:spcBef>
              <a:spcAft>
                <a:spcPts val="0"/>
              </a:spcAft>
              <a:buSzPts val="1400"/>
              <a:buNone/>
              <a:defRPr/>
            </a:lvl7pPr>
            <a:lvl8pPr marL="2743200" lvl="7" indent="-171450">
              <a:spcBef>
                <a:spcPts val="0"/>
              </a:spcBef>
              <a:spcAft>
                <a:spcPts val="0"/>
              </a:spcAft>
              <a:buSzPts val="1400"/>
              <a:buNone/>
              <a:defRPr/>
            </a:lvl8pPr>
            <a:lvl9pPr marL="3086100" lvl="8" indent="-171450">
              <a:spcBef>
                <a:spcPts val="0"/>
              </a:spcBef>
              <a:spcAft>
                <a:spcPts val="0"/>
              </a:spcAft>
              <a:buSzPts val="1400"/>
              <a:buNone/>
              <a:defRPr/>
            </a:lvl9pPr>
          </a:lstStyle>
          <a:p>
            <a:endParaRPr/>
          </a:p>
        </p:txBody>
      </p:sp>
      <p:cxnSp>
        <p:nvCxnSpPr>
          <p:cNvPr id="13" name="Straight Connector 12">
            <a:extLst>
              <a:ext uri="{FF2B5EF4-FFF2-40B4-BE49-F238E27FC236}">
                <a16:creationId xmlns:a16="http://schemas.microsoft.com/office/drawing/2014/main" id="{644C140B-1B48-E578-2F73-3878C4F62C82}"/>
              </a:ext>
            </a:extLst>
          </p:cNvPr>
          <p:cNvCxnSpPr>
            <a:cxnSpLocks/>
          </p:cNvCxnSpPr>
          <p:nvPr userDrawn="1"/>
        </p:nvCxnSpPr>
        <p:spPr>
          <a:xfrm>
            <a:off x="4751388" y="3935143"/>
            <a:ext cx="414178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5466815"/>
      </p:ext>
    </p:extLst>
  </p:cSld>
  <p:clrMapOvr>
    <a:masterClrMapping/>
  </p:clrMapOvr>
  <p:extLst>
    <p:ext uri="{DCECCB84-F9BA-43D5-87BE-67443E8EF086}">
      <p15:sldGuideLst xmlns:p15="http://schemas.microsoft.com/office/powerpoint/2012/main">
        <p15:guide id="2" pos="5602" userDrawn="1">
          <p15:clr>
            <a:srgbClr val="F26B43"/>
          </p15:clr>
        </p15:guide>
        <p15:guide id="5" pos="158" userDrawn="1">
          <p15:clr>
            <a:srgbClr val="F26B43"/>
          </p15:clr>
        </p15:guide>
        <p15:guide id="8" orient="horz" pos="4201" userDrawn="1">
          <p15:clr>
            <a:srgbClr val="A4A3A4"/>
          </p15:clr>
        </p15:guide>
        <p15:guide id="9" orient="horz" pos="119" userDrawn="1">
          <p15:clr>
            <a:srgbClr val="A4A3A4"/>
          </p15:clr>
        </p15:guide>
        <p15:guide id="10" pos="2993" userDrawn="1">
          <p15:clr>
            <a:srgbClr val="F26B43"/>
          </p15:clr>
        </p15:guide>
        <p15:guide id="11" pos="2767" userDrawn="1">
          <p15:clr>
            <a:srgbClr val="F26B43"/>
          </p15:clr>
        </p15:guide>
        <p15:guide id="22" orient="horz" pos="867" userDrawn="1">
          <p15:clr>
            <a:srgbClr val="FBAE40"/>
          </p15:clr>
        </p15:guide>
        <p15:guide id="24" orient="horz" pos="3906" userDrawn="1">
          <p15:clr>
            <a:srgbClr val="FBAE40"/>
          </p15:clr>
        </p15:guide>
        <p15:guide id="25" orient="horz" pos="2523" userDrawn="1">
          <p15:clr>
            <a:srgbClr val="FBAE40"/>
          </p15:clr>
        </p15:guide>
        <p15:guide id="26" orient="horz" pos="225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1.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image" Target="../media/image1.jpe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1.xml"/><Relationship Id="rId1" Type="http://schemas.openxmlformats.org/officeDocument/2006/relationships/slideLayout" Target="../slideLayouts/slideLayout20.xml"/><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Master Tit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8" name="Date Placeholder 7">
            <a:extLst>
              <a:ext uri="{FF2B5EF4-FFF2-40B4-BE49-F238E27FC236}">
                <a16:creationId xmlns:a16="http://schemas.microsoft.com/office/drawing/2014/main" id="{D812E4C5-967F-4468-9D64-7C21F0F98D40}"/>
              </a:ext>
            </a:extLst>
          </p:cNvPr>
          <p:cNvSpPr>
            <a:spLocks noGrp="1"/>
          </p:cNvSpPr>
          <p:nvPr>
            <p:ph type="dt" sz="half" idx="2"/>
          </p:nvPr>
        </p:nvSpPr>
        <p:spPr>
          <a:xfrm>
            <a:off x="628650" y="6356354"/>
            <a:ext cx="20574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368A9EC3-EB35-4F5D-A481-D043DD8BAC84}" type="datetimeFigureOut">
              <a:rPr lang="en-US" smtClean="0"/>
              <a:pPr/>
              <a:t>12/2/2024</a:t>
            </a:fld>
            <a:endParaRPr lang="en-US"/>
          </a:p>
        </p:txBody>
      </p:sp>
      <p:sp>
        <p:nvSpPr>
          <p:cNvPr id="9" name="Footer Placeholder 8">
            <a:extLst>
              <a:ext uri="{FF2B5EF4-FFF2-40B4-BE49-F238E27FC236}">
                <a16:creationId xmlns:a16="http://schemas.microsoft.com/office/drawing/2014/main" id="{CC3C1695-E68D-41C7-86C7-181E28280176}"/>
              </a:ext>
            </a:extLst>
          </p:cNvPr>
          <p:cNvSpPr>
            <a:spLocks noGrp="1"/>
          </p:cNvSpPr>
          <p:nvPr>
            <p:ph type="ftr" sz="quarter" idx="3"/>
          </p:nvPr>
        </p:nvSpPr>
        <p:spPr>
          <a:xfrm>
            <a:off x="3028950" y="6356354"/>
            <a:ext cx="30861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endParaRPr lang="en-US"/>
          </a:p>
        </p:txBody>
      </p:sp>
      <p:sp>
        <p:nvSpPr>
          <p:cNvPr id="10" name="Slide Number Placeholder 9">
            <a:extLst>
              <a:ext uri="{FF2B5EF4-FFF2-40B4-BE49-F238E27FC236}">
                <a16:creationId xmlns:a16="http://schemas.microsoft.com/office/drawing/2014/main" id="{5C547560-5BA1-421D-911E-18D76B3441D6}"/>
              </a:ext>
            </a:extLst>
          </p:cNvPr>
          <p:cNvSpPr>
            <a:spLocks noGrp="1"/>
          </p:cNvSpPr>
          <p:nvPr>
            <p:ph type="sldNum" sz="quarter" idx="4"/>
          </p:nvPr>
        </p:nvSpPr>
        <p:spPr>
          <a:xfrm>
            <a:off x="6457950" y="6356354"/>
            <a:ext cx="20574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Goldman Sans Thin" panose="020B0303020203020204" pitchFamily="34" charset="0"/>
              </a:defRPr>
            </a:lvl1pPr>
          </a:lstStyle>
          <a:p>
            <a:fld id="{1B80B332-6B81-4811-A13B-2B89943A5333}" type="slidenum">
              <a:rPr lang="en-US" smtClean="0"/>
              <a:pPr/>
              <a:t>‹#›</a:t>
            </a:fld>
            <a:endParaRPr lang="en-US"/>
          </a:p>
        </p:txBody>
      </p:sp>
      <p:sp>
        <p:nvSpPr>
          <p:cNvPr id="4" name="Rectangle 3">
            <a:extLst>
              <a:ext uri="{FF2B5EF4-FFF2-40B4-BE49-F238E27FC236}">
                <a16:creationId xmlns:a16="http://schemas.microsoft.com/office/drawing/2014/main" id="{A3E98B7F-4DAA-1283-5D39-68D4AEAFC324}"/>
              </a:ext>
            </a:extLst>
          </p:cNvPr>
          <p:cNvSpPr/>
          <p:nvPr userDrawn="1"/>
        </p:nvSpPr>
        <p:spPr>
          <a:xfrm>
            <a:off x="-1963480" y="0"/>
            <a:ext cx="1842977" cy="5341120"/>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900">
              <a:solidFill>
                <a:schemeClr val="tx1"/>
              </a:solidFill>
              <a:latin typeface="+mj-lt"/>
            </a:endParaRPr>
          </a:p>
        </p:txBody>
      </p:sp>
      <p:graphicFrame>
        <p:nvGraphicFramePr>
          <p:cNvPr id="6" name="Table 8">
            <a:extLst>
              <a:ext uri="{FF2B5EF4-FFF2-40B4-BE49-F238E27FC236}">
                <a16:creationId xmlns:a16="http://schemas.microsoft.com/office/drawing/2014/main" id="{AC2C8BEE-05CE-E164-CC60-9DCF360E0523}"/>
              </a:ext>
            </a:extLst>
          </p:cNvPr>
          <p:cNvGraphicFramePr>
            <a:graphicFrameLocks/>
          </p:cNvGraphicFramePr>
          <p:nvPr userDrawn="1">
            <p:extLst>
              <p:ext uri="{D42A27DB-BD31-4B8C-83A1-F6EECF244321}">
                <p14:modId xmlns:p14="http://schemas.microsoft.com/office/powerpoint/2010/main" val="244758716"/>
              </p:ext>
            </p:extLst>
          </p:nvPr>
        </p:nvGraphicFramePr>
        <p:xfrm>
          <a:off x="-1757915" y="141441"/>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a:solidFill>
                            <a:schemeClr val="tx2"/>
                          </a:solidFill>
                          <a:latin typeface="+mj-lt"/>
                        </a:rPr>
                        <a:t>Font </a:t>
                      </a:r>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Rectangle 6">
            <a:extLst>
              <a:ext uri="{FF2B5EF4-FFF2-40B4-BE49-F238E27FC236}">
                <a16:creationId xmlns:a16="http://schemas.microsoft.com/office/drawing/2014/main" id="{35AEC9A5-A30E-99DB-F0F9-CC2A83CEBFB0}"/>
              </a:ext>
            </a:extLst>
          </p:cNvPr>
          <p:cNvSpPr/>
          <p:nvPr userDrawn="1"/>
        </p:nvSpPr>
        <p:spPr>
          <a:xfrm>
            <a:off x="-1757916" y="484662"/>
            <a:ext cx="623775" cy="623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0</a:t>
            </a:r>
          </a:p>
          <a:p>
            <a:pPr algn="ctr"/>
            <a:r>
              <a:rPr lang="en-US" sz="1050"/>
              <a:t>0</a:t>
            </a:r>
          </a:p>
          <a:p>
            <a:pPr algn="ctr"/>
            <a:r>
              <a:rPr lang="en-US" sz="1050"/>
              <a:t>0</a:t>
            </a:r>
          </a:p>
        </p:txBody>
      </p:sp>
      <p:sp>
        <p:nvSpPr>
          <p:cNvPr id="12" name="TextBox 11">
            <a:extLst>
              <a:ext uri="{FF2B5EF4-FFF2-40B4-BE49-F238E27FC236}">
                <a16:creationId xmlns:a16="http://schemas.microsoft.com/office/drawing/2014/main" id="{44718FC3-D108-23F3-F8EC-696452B21295}"/>
              </a:ext>
            </a:extLst>
          </p:cNvPr>
          <p:cNvSpPr txBox="1"/>
          <p:nvPr userDrawn="1"/>
        </p:nvSpPr>
        <p:spPr>
          <a:xfrm>
            <a:off x="-1793360" y="1156213"/>
            <a:ext cx="694661" cy="253916"/>
          </a:xfrm>
          <a:prstGeom prst="rect">
            <a:avLst/>
          </a:prstGeom>
          <a:noFill/>
        </p:spPr>
        <p:txBody>
          <a:bodyPr wrap="square" rtlCol="0">
            <a:spAutoFit/>
          </a:bodyPr>
          <a:lstStyle/>
          <a:p>
            <a:pPr algn="ctr"/>
            <a:r>
              <a:rPr lang="en-US" sz="1050"/>
              <a:t>General</a:t>
            </a:r>
            <a:endParaRPr lang="en-CA" sz="1050"/>
          </a:p>
        </p:txBody>
      </p:sp>
      <p:sp>
        <p:nvSpPr>
          <p:cNvPr id="13" name="Rectangle 12">
            <a:extLst>
              <a:ext uri="{FF2B5EF4-FFF2-40B4-BE49-F238E27FC236}">
                <a16:creationId xmlns:a16="http://schemas.microsoft.com/office/drawing/2014/main" id="{D14F1B15-4C5A-BD8F-A30A-BD19EEDF4B53}"/>
              </a:ext>
            </a:extLst>
          </p:cNvPr>
          <p:cNvSpPr/>
          <p:nvPr userDrawn="1"/>
        </p:nvSpPr>
        <p:spPr>
          <a:xfrm>
            <a:off x="-881172" y="484662"/>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5</a:t>
            </a:r>
          </a:p>
          <a:p>
            <a:pPr algn="ctr"/>
            <a:r>
              <a:rPr lang="en-US" sz="1050"/>
              <a:t>53</a:t>
            </a:r>
          </a:p>
          <a:p>
            <a:pPr algn="ctr"/>
            <a:r>
              <a:rPr lang="en-US" sz="1050"/>
              <a:t>87</a:t>
            </a:r>
          </a:p>
        </p:txBody>
      </p:sp>
      <p:sp>
        <p:nvSpPr>
          <p:cNvPr id="14" name="TextBox 13">
            <a:extLst>
              <a:ext uri="{FF2B5EF4-FFF2-40B4-BE49-F238E27FC236}">
                <a16:creationId xmlns:a16="http://schemas.microsoft.com/office/drawing/2014/main" id="{50A98D96-C95C-34D5-0119-DA7D722BF98C}"/>
              </a:ext>
            </a:extLst>
          </p:cNvPr>
          <p:cNvSpPr txBox="1"/>
          <p:nvPr userDrawn="1"/>
        </p:nvSpPr>
        <p:spPr>
          <a:xfrm>
            <a:off x="-916616" y="1156213"/>
            <a:ext cx="694661" cy="253916"/>
          </a:xfrm>
          <a:prstGeom prst="rect">
            <a:avLst/>
          </a:prstGeom>
          <a:noFill/>
        </p:spPr>
        <p:txBody>
          <a:bodyPr wrap="square" rtlCol="0">
            <a:spAutoFit/>
          </a:bodyPr>
          <a:lstStyle/>
          <a:p>
            <a:pPr algn="ctr"/>
            <a:r>
              <a:rPr lang="en-US" sz="1050" err="1"/>
              <a:t>Colour</a:t>
            </a:r>
            <a:endParaRPr lang="en-CA" sz="1050"/>
          </a:p>
        </p:txBody>
      </p:sp>
      <p:graphicFrame>
        <p:nvGraphicFramePr>
          <p:cNvPr id="15" name="Table 8">
            <a:extLst>
              <a:ext uri="{FF2B5EF4-FFF2-40B4-BE49-F238E27FC236}">
                <a16:creationId xmlns:a16="http://schemas.microsoft.com/office/drawing/2014/main" id="{670A8C97-741E-2B82-1217-8F2BC954A4DD}"/>
              </a:ext>
            </a:extLst>
          </p:cNvPr>
          <p:cNvGraphicFramePr>
            <a:graphicFrameLocks/>
          </p:cNvGraphicFramePr>
          <p:nvPr userDrawn="1">
            <p:extLst>
              <p:ext uri="{D42A27DB-BD31-4B8C-83A1-F6EECF244321}">
                <p14:modId xmlns:p14="http://schemas.microsoft.com/office/powerpoint/2010/main" val="3776632960"/>
              </p:ext>
            </p:extLst>
          </p:nvPr>
        </p:nvGraphicFramePr>
        <p:xfrm>
          <a:off x="-1757915" y="1500662"/>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7" name="TextBox 16">
            <a:extLst>
              <a:ext uri="{FF2B5EF4-FFF2-40B4-BE49-F238E27FC236}">
                <a16:creationId xmlns:a16="http://schemas.microsoft.com/office/drawing/2014/main" id="{686F4546-CD9C-FAF7-D157-367198FCCFC5}"/>
              </a:ext>
            </a:extLst>
          </p:cNvPr>
          <p:cNvSpPr txBox="1"/>
          <p:nvPr userDrawn="1"/>
        </p:nvSpPr>
        <p:spPr>
          <a:xfrm>
            <a:off x="-1793360" y="2514206"/>
            <a:ext cx="694661" cy="253916"/>
          </a:xfrm>
          <a:prstGeom prst="rect">
            <a:avLst/>
          </a:prstGeom>
          <a:noFill/>
        </p:spPr>
        <p:txBody>
          <a:bodyPr wrap="square" rtlCol="0">
            <a:spAutoFit/>
          </a:bodyPr>
          <a:lstStyle/>
          <a:p>
            <a:pPr algn="ctr"/>
            <a:r>
              <a:rPr lang="en-US" sz="1050"/>
              <a:t>Primary</a:t>
            </a:r>
            <a:endParaRPr lang="en-CA" sz="1050"/>
          </a:p>
        </p:txBody>
      </p:sp>
      <p:sp>
        <p:nvSpPr>
          <p:cNvPr id="18" name="Rectangle 17">
            <a:extLst>
              <a:ext uri="{FF2B5EF4-FFF2-40B4-BE49-F238E27FC236}">
                <a16:creationId xmlns:a16="http://schemas.microsoft.com/office/drawing/2014/main" id="{5ED42EC4-8947-9721-80D1-EE1CA1F5A265}"/>
              </a:ext>
            </a:extLst>
          </p:cNvPr>
          <p:cNvSpPr/>
          <p:nvPr userDrawn="1"/>
        </p:nvSpPr>
        <p:spPr>
          <a:xfrm>
            <a:off x="-1757918" y="1842655"/>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5</a:t>
            </a:r>
          </a:p>
          <a:p>
            <a:pPr algn="ctr"/>
            <a:r>
              <a:rPr lang="en-US" sz="1050"/>
              <a:t>53</a:t>
            </a:r>
          </a:p>
          <a:p>
            <a:pPr algn="ctr"/>
            <a:r>
              <a:rPr lang="en-US" sz="1050"/>
              <a:t>87</a:t>
            </a:r>
          </a:p>
        </p:txBody>
      </p:sp>
      <p:sp>
        <p:nvSpPr>
          <p:cNvPr id="19" name="TextBox 18">
            <a:extLst>
              <a:ext uri="{FF2B5EF4-FFF2-40B4-BE49-F238E27FC236}">
                <a16:creationId xmlns:a16="http://schemas.microsoft.com/office/drawing/2014/main" id="{AED6A09F-12BA-D7F4-2ABC-B96450364D82}"/>
              </a:ext>
            </a:extLst>
          </p:cNvPr>
          <p:cNvSpPr txBox="1"/>
          <p:nvPr userDrawn="1"/>
        </p:nvSpPr>
        <p:spPr>
          <a:xfrm>
            <a:off x="-989556" y="2514206"/>
            <a:ext cx="840540" cy="415498"/>
          </a:xfrm>
          <a:prstGeom prst="rect">
            <a:avLst/>
          </a:prstGeom>
          <a:noFill/>
        </p:spPr>
        <p:txBody>
          <a:bodyPr wrap="square" rtlCol="0">
            <a:spAutoFit/>
          </a:bodyPr>
          <a:lstStyle/>
          <a:p>
            <a:pPr algn="ctr"/>
            <a:r>
              <a:rPr lang="en-US" sz="1050"/>
              <a:t>Secondary</a:t>
            </a:r>
            <a:endParaRPr lang="en-CA" sz="1050"/>
          </a:p>
        </p:txBody>
      </p:sp>
      <p:sp>
        <p:nvSpPr>
          <p:cNvPr id="20" name="Rectangle 19">
            <a:extLst>
              <a:ext uri="{FF2B5EF4-FFF2-40B4-BE49-F238E27FC236}">
                <a16:creationId xmlns:a16="http://schemas.microsoft.com/office/drawing/2014/main" id="{5EC362E1-6B32-9857-8DA7-1B92BF9B60D5}"/>
              </a:ext>
            </a:extLst>
          </p:cNvPr>
          <p:cNvSpPr/>
          <p:nvPr userDrawn="1"/>
        </p:nvSpPr>
        <p:spPr>
          <a:xfrm>
            <a:off x="-881172" y="1842655"/>
            <a:ext cx="623775" cy="623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46</a:t>
            </a:r>
          </a:p>
          <a:p>
            <a:pPr algn="ctr"/>
            <a:r>
              <a:rPr lang="en-US" sz="1050"/>
              <a:t>137</a:t>
            </a:r>
          </a:p>
          <a:p>
            <a:pPr algn="ctr"/>
            <a:r>
              <a:rPr lang="en-US" sz="1050"/>
              <a:t>219</a:t>
            </a:r>
          </a:p>
        </p:txBody>
      </p:sp>
      <p:sp>
        <p:nvSpPr>
          <p:cNvPr id="22" name="TextBox 21">
            <a:extLst>
              <a:ext uri="{FF2B5EF4-FFF2-40B4-BE49-F238E27FC236}">
                <a16:creationId xmlns:a16="http://schemas.microsoft.com/office/drawing/2014/main" id="{C4206984-2D8C-7BE3-8259-EE4E72C938F5}"/>
              </a:ext>
            </a:extLst>
          </p:cNvPr>
          <p:cNvSpPr txBox="1"/>
          <p:nvPr userDrawn="1"/>
        </p:nvSpPr>
        <p:spPr>
          <a:xfrm>
            <a:off x="-1828093" y="3530206"/>
            <a:ext cx="764127" cy="415498"/>
          </a:xfrm>
          <a:prstGeom prst="rect">
            <a:avLst/>
          </a:prstGeom>
          <a:noFill/>
        </p:spPr>
        <p:txBody>
          <a:bodyPr wrap="square" rtlCol="0">
            <a:spAutoFit/>
          </a:bodyPr>
          <a:lstStyle/>
          <a:p>
            <a:pPr algn="ctr"/>
            <a:r>
              <a:rPr lang="en-US" sz="1050"/>
              <a:t>Accent 1</a:t>
            </a:r>
            <a:endParaRPr lang="en-CA" sz="1050"/>
          </a:p>
        </p:txBody>
      </p:sp>
      <p:sp>
        <p:nvSpPr>
          <p:cNvPr id="28" name="Rectangle 27">
            <a:extLst>
              <a:ext uri="{FF2B5EF4-FFF2-40B4-BE49-F238E27FC236}">
                <a16:creationId xmlns:a16="http://schemas.microsoft.com/office/drawing/2014/main" id="{10FBCB18-432E-6447-D0DF-A685A45E862C}"/>
              </a:ext>
            </a:extLst>
          </p:cNvPr>
          <p:cNvSpPr/>
          <p:nvPr userDrawn="1"/>
        </p:nvSpPr>
        <p:spPr>
          <a:xfrm>
            <a:off x="-1757918" y="2858655"/>
            <a:ext cx="623775" cy="623775"/>
          </a:xfrm>
          <a:prstGeom prst="rect">
            <a:avLst/>
          </a:prstGeom>
          <a:solidFill>
            <a:srgbClr val="74B1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16</a:t>
            </a:r>
          </a:p>
          <a:p>
            <a:pPr algn="ctr"/>
            <a:r>
              <a:rPr lang="en-US" sz="1050"/>
              <a:t>177</a:t>
            </a:r>
          </a:p>
          <a:p>
            <a:pPr algn="ctr"/>
            <a:r>
              <a:rPr lang="en-US" sz="1050"/>
              <a:t>231</a:t>
            </a:r>
          </a:p>
        </p:txBody>
      </p:sp>
      <p:sp>
        <p:nvSpPr>
          <p:cNvPr id="31" name="TextBox 30">
            <a:extLst>
              <a:ext uri="{FF2B5EF4-FFF2-40B4-BE49-F238E27FC236}">
                <a16:creationId xmlns:a16="http://schemas.microsoft.com/office/drawing/2014/main" id="{9E1036D1-AFFE-5FD0-7969-CB77700AAA22}"/>
              </a:ext>
            </a:extLst>
          </p:cNvPr>
          <p:cNvSpPr txBox="1"/>
          <p:nvPr userDrawn="1"/>
        </p:nvSpPr>
        <p:spPr>
          <a:xfrm>
            <a:off x="-989556" y="3530206"/>
            <a:ext cx="840540" cy="253916"/>
          </a:xfrm>
          <a:prstGeom prst="rect">
            <a:avLst/>
          </a:prstGeom>
          <a:noFill/>
        </p:spPr>
        <p:txBody>
          <a:bodyPr wrap="square" rtlCol="0">
            <a:spAutoFit/>
          </a:bodyPr>
          <a:lstStyle/>
          <a:p>
            <a:pPr algn="ctr"/>
            <a:r>
              <a:rPr lang="en-US" sz="1050"/>
              <a:t>Accent 2</a:t>
            </a:r>
            <a:endParaRPr lang="en-CA" sz="1050"/>
          </a:p>
        </p:txBody>
      </p:sp>
      <p:sp>
        <p:nvSpPr>
          <p:cNvPr id="32" name="Rectangle 31">
            <a:extLst>
              <a:ext uri="{FF2B5EF4-FFF2-40B4-BE49-F238E27FC236}">
                <a16:creationId xmlns:a16="http://schemas.microsoft.com/office/drawing/2014/main" id="{88B76CD8-7FE4-058C-6212-5BC94606E49D}"/>
              </a:ext>
            </a:extLst>
          </p:cNvPr>
          <p:cNvSpPr/>
          <p:nvPr userDrawn="1"/>
        </p:nvSpPr>
        <p:spPr>
          <a:xfrm>
            <a:off x="-881172" y="2858655"/>
            <a:ext cx="623775" cy="623775"/>
          </a:xfrm>
          <a:prstGeom prst="rect">
            <a:avLst/>
          </a:prstGeom>
          <a:solidFill>
            <a:srgbClr val="DDD9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221</a:t>
            </a:r>
          </a:p>
          <a:p>
            <a:pPr algn="ctr"/>
            <a:r>
              <a:rPr lang="en-US" sz="1050"/>
              <a:t>217</a:t>
            </a:r>
          </a:p>
          <a:p>
            <a:pPr algn="ctr"/>
            <a:r>
              <a:rPr lang="en-US" sz="1050"/>
              <a:t>195</a:t>
            </a:r>
          </a:p>
        </p:txBody>
      </p:sp>
      <p:sp>
        <p:nvSpPr>
          <p:cNvPr id="33" name="TextBox 32">
            <a:extLst>
              <a:ext uri="{FF2B5EF4-FFF2-40B4-BE49-F238E27FC236}">
                <a16:creationId xmlns:a16="http://schemas.microsoft.com/office/drawing/2014/main" id="{A3D5112E-70E4-8B13-A206-1E9D20426DF9}"/>
              </a:ext>
            </a:extLst>
          </p:cNvPr>
          <p:cNvSpPr txBox="1"/>
          <p:nvPr userDrawn="1"/>
        </p:nvSpPr>
        <p:spPr>
          <a:xfrm>
            <a:off x="-1828093" y="4546297"/>
            <a:ext cx="764127" cy="253916"/>
          </a:xfrm>
          <a:prstGeom prst="rect">
            <a:avLst/>
          </a:prstGeom>
          <a:noFill/>
        </p:spPr>
        <p:txBody>
          <a:bodyPr wrap="square" rtlCol="0">
            <a:spAutoFit/>
          </a:bodyPr>
          <a:lstStyle/>
          <a:p>
            <a:pPr algn="ctr"/>
            <a:r>
              <a:rPr lang="en-US" sz="1050"/>
              <a:t>Accent 3</a:t>
            </a:r>
            <a:endParaRPr lang="en-CA" sz="1050"/>
          </a:p>
        </p:txBody>
      </p:sp>
      <p:sp>
        <p:nvSpPr>
          <p:cNvPr id="34" name="Rectangle 33">
            <a:extLst>
              <a:ext uri="{FF2B5EF4-FFF2-40B4-BE49-F238E27FC236}">
                <a16:creationId xmlns:a16="http://schemas.microsoft.com/office/drawing/2014/main" id="{D998FE6F-7093-107D-AFC0-A9052EBF2A19}"/>
              </a:ext>
            </a:extLst>
          </p:cNvPr>
          <p:cNvSpPr/>
          <p:nvPr userDrawn="1"/>
        </p:nvSpPr>
        <p:spPr>
          <a:xfrm>
            <a:off x="-1757918" y="3874746"/>
            <a:ext cx="623775" cy="623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8</a:t>
            </a:r>
          </a:p>
          <a:p>
            <a:pPr algn="ctr"/>
            <a:r>
              <a:rPr lang="en-US" sz="1050"/>
              <a:t>26</a:t>
            </a:r>
          </a:p>
          <a:p>
            <a:pPr algn="ctr"/>
            <a:r>
              <a:rPr lang="en-US" sz="1050"/>
              <a:t>44</a:t>
            </a:r>
          </a:p>
        </p:txBody>
      </p:sp>
      <p:sp>
        <p:nvSpPr>
          <p:cNvPr id="35" name="TextBox 34">
            <a:extLst>
              <a:ext uri="{FF2B5EF4-FFF2-40B4-BE49-F238E27FC236}">
                <a16:creationId xmlns:a16="http://schemas.microsoft.com/office/drawing/2014/main" id="{15B44773-9FF7-8443-845B-14EC81EC1A1D}"/>
              </a:ext>
            </a:extLst>
          </p:cNvPr>
          <p:cNvSpPr txBox="1"/>
          <p:nvPr userDrawn="1"/>
        </p:nvSpPr>
        <p:spPr>
          <a:xfrm>
            <a:off x="-989556" y="4546297"/>
            <a:ext cx="840540" cy="253916"/>
          </a:xfrm>
          <a:prstGeom prst="rect">
            <a:avLst/>
          </a:prstGeom>
          <a:noFill/>
        </p:spPr>
        <p:txBody>
          <a:bodyPr wrap="square" rtlCol="0">
            <a:spAutoFit/>
          </a:bodyPr>
          <a:lstStyle/>
          <a:p>
            <a:pPr algn="ctr"/>
            <a:r>
              <a:rPr lang="en-US" sz="1050"/>
              <a:t>Accent 4</a:t>
            </a:r>
            <a:endParaRPr lang="en-CA" sz="1050"/>
          </a:p>
        </p:txBody>
      </p:sp>
      <p:sp>
        <p:nvSpPr>
          <p:cNvPr id="36" name="Rectangle 35">
            <a:extLst>
              <a:ext uri="{FF2B5EF4-FFF2-40B4-BE49-F238E27FC236}">
                <a16:creationId xmlns:a16="http://schemas.microsoft.com/office/drawing/2014/main" id="{CD384A26-DAD0-C2F5-6F6D-1E99E089B400}"/>
              </a:ext>
            </a:extLst>
          </p:cNvPr>
          <p:cNvSpPr/>
          <p:nvPr userDrawn="1"/>
        </p:nvSpPr>
        <p:spPr>
          <a:xfrm>
            <a:off x="-881172" y="3874746"/>
            <a:ext cx="623775" cy="62377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221</a:t>
            </a:r>
          </a:p>
          <a:p>
            <a:pPr algn="ctr"/>
            <a:r>
              <a:rPr lang="en-US" sz="1050"/>
              <a:t>221</a:t>
            </a:r>
          </a:p>
          <a:p>
            <a:pPr algn="ctr"/>
            <a:r>
              <a:rPr lang="en-US" sz="1050"/>
              <a:t>221</a:t>
            </a:r>
          </a:p>
        </p:txBody>
      </p:sp>
      <p:pic>
        <p:nvPicPr>
          <p:cNvPr id="5" name="Picture 4" descr="A picture containing text, clipart&#10;&#10;Description automatically generated">
            <a:extLst>
              <a:ext uri="{FF2B5EF4-FFF2-40B4-BE49-F238E27FC236}">
                <a16:creationId xmlns:a16="http://schemas.microsoft.com/office/drawing/2014/main" id="{A39148CD-CDE5-CD71-E05F-D413E892AC4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1" name="TextBox 10">
            <a:extLst>
              <a:ext uri="{FF2B5EF4-FFF2-40B4-BE49-F238E27FC236}">
                <a16:creationId xmlns:a16="http://schemas.microsoft.com/office/drawing/2014/main" id="{A34C00C7-2D9A-0E42-A581-B4EE6EF3CB81}"/>
              </a:ext>
            </a:extLst>
          </p:cNvPr>
          <p:cNvSpPr txBox="1"/>
          <p:nvPr userDrawn="1"/>
        </p:nvSpPr>
        <p:spPr>
          <a:xfrm>
            <a:off x="6893566" y="253830"/>
            <a:ext cx="1641595" cy="230832"/>
          </a:xfrm>
          <a:prstGeom prst="rect">
            <a:avLst/>
          </a:prstGeom>
          <a:noFill/>
        </p:spPr>
        <p:txBody>
          <a:bodyPr wrap="square" rtlCol="0" anchor="ctr">
            <a:spAutoFit/>
          </a:bodyPr>
          <a:lstStyle/>
          <a:p>
            <a:pPr algn="r"/>
            <a:r>
              <a:rPr lang="en-US" sz="900">
                <a:solidFill>
                  <a:schemeClr val="bg2"/>
                </a:solidFill>
              </a:rPr>
              <a:t>TFS INVESTMENT GROUP</a:t>
            </a:r>
          </a:p>
        </p:txBody>
      </p:sp>
      <p:sp>
        <p:nvSpPr>
          <p:cNvPr id="16" name="Rectangle 15">
            <a:extLst>
              <a:ext uri="{FF2B5EF4-FFF2-40B4-BE49-F238E27FC236}">
                <a16:creationId xmlns:a16="http://schemas.microsoft.com/office/drawing/2014/main" id="{DE43BD0D-B9C9-2DD7-9533-304F10702F23}"/>
              </a:ext>
            </a:extLst>
          </p:cNvPr>
          <p:cNvSpPr/>
          <p:nvPr userDrawn="1"/>
        </p:nvSpPr>
        <p:spPr>
          <a:xfrm>
            <a:off x="9264503" y="-1"/>
            <a:ext cx="1842977" cy="5341121"/>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900" b="1">
                <a:solidFill>
                  <a:schemeClr val="tx1"/>
                </a:solidFill>
                <a:latin typeface="+mj-lt"/>
              </a:rPr>
              <a:t>Font: Arial</a:t>
            </a:r>
          </a:p>
          <a:p>
            <a:pPr marL="171450" indent="-171450" algn="l">
              <a:buClr>
                <a:schemeClr val="accent1"/>
              </a:buClr>
              <a:buFont typeface="Wingdings" panose="05000000000000000000" pitchFamily="2" charset="2"/>
              <a:buChar char="§"/>
            </a:pPr>
            <a:r>
              <a:rPr lang="en-US" sz="900">
                <a:solidFill>
                  <a:schemeClr val="tx1"/>
                </a:solidFill>
                <a:latin typeface="+mj-lt"/>
              </a:rPr>
              <a:t>Title: 20</a:t>
            </a:r>
          </a:p>
          <a:p>
            <a:pPr marL="171450" indent="-171450" algn="l">
              <a:buClr>
                <a:schemeClr val="accent1"/>
              </a:buClr>
              <a:buFont typeface="Wingdings" panose="05000000000000000000" pitchFamily="2" charset="2"/>
              <a:buChar char="§"/>
            </a:pPr>
            <a:r>
              <a:rPr lang="en-US" sz="900">
                <a:solidFill>
                  <a:schemeClr val="tx1"/>
                </a:solidFill>
                <a:latin typeface="+mj-lt"/>
              </a:rPr>
              <a:t>Subtitle: 14</a:t>
            </a:r>
          </a:p>
          <a:p>
            <a:pPr marL="171450" indent="-171450" algn="l">
              <a:buClr>
                <a:schemeClr val="accent1"/>
              </a:buClr>
              <a:buFont typeface="Wingdings" panose="05000000000000000000" pitchFamily="2" charset="2"/>
              <a:buChar char="§"/>
            </a:pPr>
            <a:r>
              <a:rPr lang="en-US" sz="900">
                <a:solidFill>
                  <a:schemeClr val="tx1"/>
                </a:solidFill>
                <a:latin typeface="+mj-lt"/>
              </a:rPr>
              <a:t>Content Headings: 12</a:t>
            </a:r>
          </a:p>
          <a:p>
            <a:pPr marL="171450" indent="-171450" algn="l">
              <a:buClr>
                <a:schemeClr val="accent1"/>
              </a:buClr>
              <a:buFont typeface="Wingdings" panose="05000000000000000000" pitchFamily="2" charset="2"/>
              <a:buChar char="§"/>
            </a:pPr>
            <a:r>
              <a:rPr lang="en-US" sz="900">
                <a:solidFill>
                  <a:schemeClr val="tx1"/>
                </a:solidFill>
                <a:latin typeface="+mj-lt"/>
              </a:rPr>
              <a:t>General: 9</a:t>
            </a:r>
          </a:p>
          <a:p>
            <a:pPr marL="171450" indent="-171450" algn="l">
              <a:buClr>
                <a:schemeClr val="accent1"/>
              </a:buClr>
              <a:buFont typeface="Wingdings" panose="05000000000000000000" pitchFamily="2" charset="2"/>
              <a:buChar char="§"/>
            </a:pPr>
            <a:r>
              <a:rPr lang="en-US" sz="900">
                <a:solidFill>
                  <a:schemeClr val="tx1"/>
                </a:solidFill>
                <a:latin typeface="+mj-lt"/>
              </a:rPr>
              <a:t>Graphs: 9</a:t>
            </a:r>
          </a:p>
          <a:p>
            <a:pPr algn="l"/>
            <a:endParaRPr lang="en-US" sz="900" b="1">
              <a:solidFill>
                <a:schemeClr val="tx1"/>
              </a:solidFill>
              <a:latin typeface="+mj-lt"/>
            </a:endParaRPr>
          </a:p>
          <a:p>
            <a:pPr algn="l"/>
            <a:r>
              <a:rPr lang="en-US" sz="900" b="1">
                <a:solidFill>
                  <a:schemeClr val="tx1"/>
                </a:solidFill>
                <a:latin typeface="+mj-lt"/>
              </a:rPr>
              <a:t>Dollar Notation</a:t>
            </a:r>
          </a:p>
          <a:p>
            <a:pPr marL="171450" indent="-171450" algn="l">
              <a:buClr>
                <a:schemeClr val="accent1"/>
              </a:buClr>
              <a:buFont typeface="Wingdings" panose="05000000000000000000" pitchFamily="2" charset="2"/>
              <a:buChar char="§"/>
            </a:pPr>
            <a:r>
              <a:rPr lang="en-US" sz="900">
                <a:solidFill>
                  <a:schemeClr val="tx1"/>
                </a:solidFill>
                <a:latin typeface="+mj-lt"/>
              </a:rPr>
              <a:t>General - $#mm and $#bn</a:t>
            </a:r>
          </a:p>
          <a:p>
            <a:pPr marL="171450" indent="-171450" algn="l">
              <a:buClr>
                <a:schemeClr val="accent1"/>
              </a:buClr>
              <a:buFont typeface="Wingdings" panose="05000000000000000000" pitchFamily="2" charset="2"/>
              <a:buChar char="§"/>
            </a:pPr>
            <a:r>
              <a:rPr lang="en-US" sz="900">
                <a:solidFill>
                  <a:schemeClr val="tx1"/>
                </a:solidFill>
                <a:latin typeface="+mj-lt"/>
              </a:rPr>
              <a:t>Currency - US$## and C$##</a:t>
            </a:r>
          </a:p>
          <a:p>
            <a:pPr marL="171450" indent="-171450" algn="l">
              <a:buClr>
                <a:schemeClr val="accent1"/>
              </a:buClr>
              <a:buFont typeface="Wingdings" panose="05000000000000000000" pitchFamily="2" charset="2"/>
              <a:buChar char="§"/>
            </a:pPr>
            <a:r>
              <a:rPr lang="en-US" sz="900">
                <a:solidFill>
                  <a:schemeClr val="tx1"/>
                </a:solidFill>
                <a:latin typeface="+mj-lt"/>
              </a:rPr>
              <a:t>Ranges - $#-#mm (and bn)</a:t>
            </a:r>
          </a:p>
          <a:p>
            <a:pPr marL="171450" indent="-171450" algn="l">
              <a:buClr>
                <a:schemeClr val="accent1"/>
              </a:buClr>
              <a:buFont typeface="Wingdings" panose="05000000000000000000" pitchFamily="2" charset="2"/>
              <a:buChar char="§"/>
            </a:pPr>
            <a:r>
              <a:rPr lang="en-US" sz="900">
                <a:solidFill>
                  <a:schemeClr val="tx1"/>
                </a:solidFill>
                <a:latin typeface="+mj-lt"/>
              </a:rPr>
              <a:t>1 decimal place, 2 for per share</a:t>
            </a:r>
          </a:p>
          <a:p>
            <a:pPr marL="171450" indent="-171450" algn="l">
              <a:buClr>
                <a:schemeClr val="accent1"/>
              </a:buClr>
              <a:buFont typeface="Wingdings" panose="05000000000000000000" pitchFamily="2" charset="2"/>
              <a:buChar char="§"/>
            </a:pPr>
            <a:r>
              <a:rPr lang="en-US" sz="900">
                <a:solidFill>
                  <a:schemeClr val="tx1"/>
                </a:solidFill>
                <a:latin typeface="+mj-lt"/>
              </a:rPr>
              <a:t>General - #,##0.0;(#,##0.0);-</a:t>
            </a:r>
          </a:p>
          <a:p>
            <a:pPr marL="171450" indent="-171450" algn="l">
              <a:buClr>
                <a:schemeClr val="accent1"/>
              </a:buClr>
              <a:buFont typeface="Wingdings" panose="05000000000000000000" pitchFamily="2" charset="2"/>
              <a:buChar char="§"/>
            </a:pPr>
            <a:endParaRPr lang="en-US" sz="900">
              <a:solidFill>
                <a:schemeClr val="tx1"/>
              </a:solidFill>
              <a:latin typeface="+mj-lt"/>
            </a:endParaRPr>
          </a:p>
          <a:p>
            <a:pPr marL="0" indent="0" algn="l">
              <a:buClr>
                <a:schemeClr val="accent1"/>
              </a:buClr>
              <a:buFont typeface="Wingdings" panose="05000000000000000000" pitchFamily="2" charset="2"/>
              <a:buNone/>
            </a:pPr>
            <a:r>
              <a:rPr lang="en-US" sz="900" b="1">
                <a:solidFill>
                  <a:schemeClr val="tx1"/>
                </a:solidFill>
                <a:latin typeface="+mj-lt"/>
              </a:rPr>
              <a:t>Sources and Footnote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Mark footnote with </a:t>
            </a:r>
            <a:r>
              <a:rPr lang="en-US" sz="900" i="1" baseline="30000">
                <a:solidFill>
                  <a:schemeClr val="tx1"/>
                </a:solidFill>
                <a:latin typeface="+mj-lt"/>
              </a:rPr>
              <a:t>(#) </a:t>
            </a:r>
            <a:r>
              <a:rPr lang="en-US" sz="900" i="0" baseline="0">
                <a:solidFill>
                  <a:schemeClr val="tx1"/>
                </a:solidFill>
                <a:latin typeface="+mj-lt"/>
              </a:rPr>
              <a:t>in your tex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i="0" baseline="0">
                <a:solidFill>
                  <a:schemeClr val="tx1"/>
                </a:solidFill>
                <a:latin typeface="+mj-lt"/>
              </a:rPr>
              <a:t>Begin footnote with (#) in the footer and “Sources:” (even if there is only one source)</a:t>
            </a:r>
            <a:endParaRPr lang="en-US" sz="900" i="0" baseline="300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lways pt 7 font siz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Capitalized Cas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and” between 2</a:t>
            </a:r>
            <a:r>
              <a:rPr lang="en-US" sz="900" baseline="30000">
                <a:solidFill>
                  <a:schemeClr val="tx1"/>
                </a:solidFill>
                <a:latin typeface="+mj-lt"/>
              </a:rPr>
              <a:t>nd</a:t>
            </a:r>
            <a:r>
              <a:rPr lang="en-US" sz="900">
                <a:solidFill>
                  <a:schemeClr val="tx1"/>
                </a:solidFill>
                <a:latin typeface="+mj-lt"/>
              </a:rPr>
              <a:t> last and last sourc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i.e. (1) Sources: Bloomberg</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900" b="1">
                <a:solidFill>
                  <a:schemeClr val="tx1"/>
                </a:solidFill>
                <a:latin typeface="+mj-lt"/>
              </a:rPr>
              <a:t>Charts and Graph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nt size 9 and Arial 9 (black fon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llow number notations abov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Use </a:t>
            </a:r>
            <a:r>
              <a:rPr lang="en-US" sz="900" err="1">
                <a:solidFill>
                  <a:schemeClr val="tx1"/>
                </a:solidFill>
                <a:latin typeface="+mj-lt"/>
              </a:rPr>
              <a:t>TFSIG</a:t>
            </a:r>
            <a:r>
              <a:rPr lang="en-US" sz="900">
                <a:solidFill>
                  <a:schemeClr val="tx1"/>
                </a:solidFill>
                <a:latin typeface="+mj-lt"/>
              </a:rPr>
              <a:t> </a:t>
            </a:r>
            <a:r>
              <a:rPr lang="en-US" sz="900" err="1">
                <a:solidFill>
                  <a:schemeClr val="tx1"/>
                </a:solidFill>
                <a:latin typeface="+mj-lt"/>
              </a:rPr>
              <a:t>colours</a:t>
            </a: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lines – Black</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tick marks – major and outsid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horizontal or vertical lines (default grey ones)</a:t>
            </a:r>
          </a:p>
        </p:txBody>
      </p:sp>
    </p:spTree>
    <p:extLst>
      <p:ext uri="{BB962C8B-B14F-4D97-AF65-F5344CB8AC3E}">
        <p14:creationId xmlns:p14="http://schemas.microsoft.com/office/powerpoint/2010/main" val="108896749"/>
      </p:ext>
    </p:extLst>
  </p:cSld>
  <p:clrMap bg1="lt1" tx1="dk1" bg2="lt2" tx2="dk2" accent1="accent1" accent2="accent2" accent3="accent3" accent4="accent4" accent5="accent5" accent6="accent6" hlink="hlink" folHlink="folHlink"/>
  <p:sldLayoutIdLst>
    <p:sldLayoutId id="2147483693" r:id="rId1"/>
    <p:sldLayoutId id="2147483685" r:id="rId2"/>
    <p:sldLayoutId id="2147483679" r:id="rId3"/>
    <p:sldLayoutId id="2147483684" r:id="rId4"/>
    <p:sldLayoutId id="2147483689" r:id="rId5"/>
    <p:sldLayoutId id="2147483690" r:id="rId6"/>
    <p:sldLayoutId id="2147483688" r:id="rId7"/>
    <p:sldLayoutId id="2147483691" r:id="rId8"/>
    <p:sldLayoutId id="2147483692" r:id="rId9"/>
    <p:sldLayoutId id="2147483687" r:id="rId10"/>
    <p:sldLayoutId id="2147483683" r:id="rId11"/>
  </p:sldLayoutIdLst>
  <p:txStyles>
    <p:titleStyle>
      <a:lvl1pPr algn="l" defTabSz="914400" rtl="0" eaLnBrk="1" latinLnBrk="0" hangingPunct="1">
        <a:lnSpc>
          <a:spcPct val="100000"/>
        </a:lnSpc>
        <a:spcBef>
          <a:spcPct val="0"/>
        </a:spcBef>
        <a:buNone/>
        <a:defRPr sz="2000" kern="1200">
          <a:solidFill>
            <a:schemeClr val="accent1"/>
          </a:solidFill>
          <a:latin typeface="+mj-lt"/>
          <a:ea typeface="+mj-ea"/>
          <a:cs typeface="Goldman Sans Bold" panose="020B0803020203020204" pitchFamily="34" charset="0"/>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Master Tit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8" name="Date Placeholder 7">
            <a:extLst>
              <a:ext uri="{FF2B5EF4-FFF2-40B4-BE49-F238E27FC236}">
                <a16:creationId xmlns:a16="http://schemas.microsoft.com/office/drawing/2014/main" id="{D812E4C5-967F-4468-9D64-7C21F0F98D40}"/>
              </a:ext>
            </a:extLst>
          </p:cNvPr>
          <p:cNvSpPr>
            <a:spLocks noGrp="1"/>
          </p:cNvSpPr>
          <p:nvPr>
            <p:ph type="dt" sz="half" idx="2"/>
          </p:nvPr>
        </p:nvSpPr>
        <p:spPr>
          <a:xfrm>
            <a:off x="628650" y="6356354"/>
            <a:ext cx="20574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368A9EC3-EB35-4F5D-A481-D043DD8BAC84}" type="datetimeFigureOut">
              <a:rPr lang="en-US" smtClean="0"/>
              <a:pPr/>
              <a:t>12/2/2024</a:t>
            </a:fld>
            <a:endParaRPr lang="en-US"/>
          </a:p>
        </p:txBody>
      </p:sp>
      <p:sp>
        <p:nvSpPr>
          <p:cNvPr id="9" name="Footer Placeholder 8">
            <a:extLst>
              <a:ext uri="{FF2B5EF4-FFF2-40B4-BE49-F238E27FC236}">
                <a16:creationId xmlns:a16="http://schemas.microsoft.com/office/drawing/2014/main" id="{CC3C1695-E68D-41C7-86C7-181E28280176}"/>
              </a:ext>
            </a:extLst>
          </p:cNvPr>
          <p:cNvSpPr>
            <a:spLocks noGrp="1"/>
          </p:cNvSpPr>
          <p:nvPr>
            <p:ph type="ftr" sz="quarter" idx="3"/>
          </p:nvPr>
        </p:nvSpPr>
        <p:spPr>
          <a:xfrm>
            <a:off x="3028950" y="6356354"/>
            <a:ext cx="30861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endParaRPr lang="en-US"/>
          </a:p>
        </p:txBody>
      </p:sp>
      <p:sp>
        <p:nvSpPr>
          <p:cNvPr id="10" name="Slide Number Placeholder 9">
            <a:extLst>
              <a:ext uri="{FF2B5EF4-FFF2-40B4-BE49-F238E27FC236}">
                <a16:creationId xmlns:a16="http://schemas.microsoft.com/office/drawing/2014/main" id="{5C547560-5BA1-421D-911E-18D76B3441D6}"/>
              </a:ext>
            </a:extLst>
          </p:cNvPr>
          <p:cNvSpPr>
            <a:spLocks noGrp="1"/>
          </p:cNvSpPr>
          <p:nvPr>
            <p:ph type="sldNum" sz="quarter" idx="4"/>
          </p:nvPr>
        </p:nvSpPr>
        <p:spPr>
          <a:xfrm>
            <a:off x="6457950" y="6356354"/>
            <a:ext cx="20574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Goldman Sans Thin" panose="020B0303020203020204" pitchFamily="34" charset="0"/>
              </a:defRPr>
            </a:lvl1pPr>
          </a:lstStyle>
          <a:p>
            <a:fld id="{1B80B332-6B81-4811-A13B-2B89943A5333}" type="slidenum">
              <a:rPr lang="en-US" smtClean="0"/>
              <a:pPr/>
              <a:t>‹#›</a:t>
            </a:fld>
            <a:endParaRPr lang="en-US"/>
          </a:p>
        </p:txBody>
      </p:sp>
      <p:sp>
        <p:nvSpPr>
          <p:cNvPr id="4" name="Rectangle 3">
            <a:extLst>
              <a:ext uri="{FF2B5EF4-FFF2-40B4-BE49-F238E27FC236}">
                <a16:creationId xmlns:a16="http://schemas.microsoft.com/office/drawing/2014/main" id="{A3E98B7F-4DAA-1283-5D39-68D4AEAFC324}"/>
              </a:ext>
            </a:extLst>
          </p:cNvPr>
          <p:cNvSpPr/>
          <p:nvPr userDrawn="1"/>
        </p:nvSpPr>
        <p:spPr>
          <a:xfrm>
            <a:off x="-1963480" y="0"/>
            <a:ext cx="1842977" cy="5341120"/>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900">
              <a:solidFill>
                <a:schemeClr val="tx1"/>
              </a:solidFill>
              <a:latin typeface="+mj-lt"/>
            </a:endParaRPr>
          </a:p>
        </p:txBody>
      </p:sp>
      <p:graphicFrame>
        <p:nvGraphicFramePr>
          <p:cNvPr id="6" name="Table 8">
            <a:extLst>
              <a:ext uri="{FF2B5EF4-FFF2-40B4-BE49-F238E27FC236}">
                <a16:creationId xmlns:a16="http://schemas.microsoft.com/office/drawing/2014/main" id="{AC2C8BEE-05CE-E164-CC60-9DCF360E0523}"/>
              </a:ext>
            </a:extLst>
          </p:cNvPr>
          <p:cNvGraphicFramePr>
            <a:graphicFrameLocks/>
          </p:cNvGraphicFramePr>
          <p:nvPr userDrawn="1"/>
        </p:nvGraphicFramePr>
        <p:xfrm>
          <a:off x="-1757915" y="141441"/>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a:solidFill>
                            <a:schemeClr val="tx2"/>
                          </a:solidFill>
                          <a:latin typeface="+mj-lt"/>
                        </a:rPr>
                        <a:t>Font </a:t>
                      </a:r>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Rectangle 6">
            <a:extLst>
              <a:ext uri="{FF2B5EF4-FFF2-40B4-BE49-F238E27FC236}">
                <a16:creationId xmlns:a16="http://schemas.microsoft.com/office/drawing/2014/main" id="{35AEC9A5-A30E-99DB-F0F9-CC2A83CEBFB0}"/>
              </a:ext>
            </a:extLst>
          </p:cNvPr>
          <p:cNvSpPr/>
          <p:nvPr userDrawn="1"/>
        </p:nvSpPr>
        <p:spPr>
          <a:xfrm>
            <a:off x="-1757916" y="484662"/>
            <a:ext cx="623775" cy="623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0</a:t>
            </a:r>
          </a:p>
          <a:p>
            <a:pPr algn="ctr"/>
            <a:r>
              <a:rPr lang="en-US" sz="1050"/>
              <a:t>0</a:t>
            </a:r>
          </a:p>
          <a:p>
            <a:pPr algn="ctr"/>
            <a:r>
              <a:rPr lang="en-US" sz="1050"/>
              <a:t>0</a:t>
            </a:r>
          </a:p>
        </p:txBody>
      </p:sp>
      <p:sp>
        <p:nvSpPr>
          <p:cNvPr id="12" name="TextBox 11">
            <a:extLst>
              <a:ext uri="{FF2B5EF4-FFF2-40B4-BE49-F238E27FC236}">
                <a16:creationId xmlns:a16="http://schemas.microsoft.com/office/drawing/2014/main" id="{44718FC3-D108-23F3-F8EC-696452B21295}"/>
              </a:ext>
            </a:extLst>
          </p:cNvPr>
          <p:cNvSpPr txBox="1"/>
          <p:nvPr userDrawn="1"/>
        </p:nvSpPr>
        <p:spPr>
          <a:xfrm>
            <a:off x="-1793360" y="1156213"/>
            <a:ext cx="694661" cy="253916"/>
          </a:xfrm>
          <a:prstGeom prst="rect">
            <a:avLst/>
          </a:prstGeom>
          <a:noFill/>
        </p:spPr>
        <p:txBody>
          <a:bodyPr wrap="square" rtlCol="0">
            <a:spAutoFit/>
          </a:bodyPr>
          <a:lstStyle/>
          <a:p>
            <a:pPr algn="ctr"/>
            <a:r>
              <a:rPr lang="en-US" sz="1050"/>
              <a:t>General</a:t>
            </a:r>
            <a:endParaRPr lang="en-CA" sz="1050"/>
          </a:p>
        </p:txBody>
      </p:sp>
      <p:sp>
        <p:nvSpPr>
          <p:cNvPr id="13" name="Rectangle 12">
            <a:extLst>
              <a:ext uri="{FF2B5EF4-FFF2-40B4-BE49-F238E27FC236}">
                <a16:creationId xmlns:a16="http://schemas.microsoft.com/office/drawing/2014/main" id="{D14F1B15-4C5A-BD8F-A30A-BD19EEDF4B53}"/>
              </a:ext>
            </a:extLst>
          </p:cNvPr>
          <p:cNvSpPr/>
          <p:nvPr userDrawn="1"/>
        </p:nvSpPr>
        <p:spPr>
          <a:xfrm>
            <a:off x="-881172" y="484662"/>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5</a:t>
            </a:r>
          </a:p>
          <a:p>
            <a:pPr algn="ctr"/>
            <a:r>
              <a:rPr lang="en-US" sz="1050"/>
              <a:t>53</a:t>
            </a:r>
          </a:p>
          <a:p>
            <a:pPr algn="ctr"/>
            <a:r>
              <a:rPr lang="en-US" sz="1050"/>
              <a:t>87</a:t>
            </a:r>
          </a:p>
        </p:txBody>
      </p:sp>
      <p:sp>
        <p:nvSpPr>
          <p:cNvPr id="14" name="TextBox 13">
            <a:extLst>
              <a:ext uri="{FF2B5EF4-FFF2-40B4-BE49-F238E27FC236}">
                <a16:creationId xmlns:a16="http://schemas.microsoft.com/office/drawing/2014/main" id="{50A98D96-C95C-34D5-0119-DA7D722BF98C}"/>
              </a:ext>
            </a:extLst>
          </p:cNvPr>
          <p:cNvSpPr txBox="1"/>
          <p:nvPr userDrawn="1"/>
        </p:nvSpPr>
        <p:spPr>
          <a:xfrm>
            <a:off x="-916616" y="1156213"/>
            <a:ext cx="694661" cy="253916"/>
          </a:xfrm>
          <a:prstGeom prst="rect">
            <a:avLst/>
          </a:prstGeom>
          <a:noFill/>
        </p:spPr>
        <p:txBody>
          <a:bodyPr wrap="square" rtlCol="0">
            <a:spAutoFit/>
          </a:bodyPr>
          <a:lstStyle/>
          <a:p>
            <a:pPr algn="ctr"/>
            <a:r>
              <a:rPr lang="en-US" sz="1050" err="1"/>
              <a:t>Colour</a:t>
            </a:r>
            <a:endParaRPr lang="en-CA" sz="1050"/>
          </a:p>
        </p:txBody>
      </p:sp>
      <p:graphicFrame>
        <p:nvGraphicFramePr>
          <p:cNvPr id="15" name="Table 8">
            <a:extLst>
              <a:ext uri="{FF2B5EF4-FFF2-40B4-BE49-F238E27FC236}">
                <a16:creationId xmlns:a16="http://schemas.microsoft.com/office/drawing/2014/main" id="{670A8C97-741E-2B82-1217-8F2BC954A4DD}"/>
              </a:ext>
            </a:extLst>
          </p:cNvPr>
          <p:cNvGraphicFramePr>
            <a:graphicFrameLocks/>
          </p:cNvGraphicFramePr>
          <p:nvPr userDrawn="1"/>
        </p:nvGraphicFramePr>
        <p:xfrm>
          <a:off x="-1757915" y="1500662"/>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7" name="TextBox 16">
            <a:extLst>
              <a:ext uri="{FF2B5EF4-FFF2-40B4-BE49-F238E27FC236}">
                <a16:creationId xmlns:a16="http://schemas.microsoft.com/office/drawing/2014/main" id="{686F4546-CD9C-FAF7-D157-367198FCCFC5}"/>
              </a:ext>
            </a:extLst>
          </p:cNvPr>
          <p:cNvSpPr txBox="1"/>
          <p:nvPr userDrawn="1"/>
        </p:nvSpPr>
        <p:spPr>
          <a:xfrm>
            <a:off x="-1793360" y="2514206"/>
            <a:ext cx="694661" cy="253916"/>
          </a:xfrm>
          <a:prstGeom prst="rect">
            <a:avLst/>
          </a:prstGeom>
          <a:noFill/>
        </p:spPr>
        <p:txBody>
          <a:bodyPr wrap="square" rtlCol="0">
            <a:spAutoFit/>
          </a:bodyPr>
          <a:lstStyle/>
          <a:p>
            <a:pPr algn="ctr"/>
            <a:r>
              <a:rPr lang="en-US" sz="1050"/>
              <a:t>Primary</a:t>
            </a:r>
            <a:endParaRPr lang="en-CA" sz="1050"/>
          </a:p>
        </p:txBody>
      </p:sp>
      <p:sp>
        <p:nvSpPr>
          <p:cNvPr id="18" name="Rectangle 17">
            <a:extLst>
              <a:ext uri="{FF2B5EF4-FFF2-40B4-BE49-F238E27FC236}">
                <a16:creationId xmlns:a16="http://schemas.microsoft.com/office/drawing/2014/main" id="{5ED42EC4-8947-9721-80D1-EE1CA1F5A265}"/>
              </a:ext>
            </a:extLst>
          </p:cNvPr>
          <p:cNvSpPr/>
          <p:nvPr userDrawn="1"/>
        </p:nvSpPr>
        <p:spPr>
          <a:xfrm>
            <a:off x="-1757918" y="1842655"/>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5</a:t>
            </a:r>
          </a:p>
          <a:p>
            <a:pPr algn="ctr"/>
            <a:r>
              <a:rPr lang="en-US" sz="1050"/>
              <a:t>53</a:t>
            </a:r>
          </a:p>
          <a:p>
            <a:pPr algn="ctr"/>
            <a:r>
              <a:rPr lang="en-US" sz="1050"/>
              <a:t>87</a:t>
            </a:r>
          </a:p>
        </p:txBody>
      </p:sp>
      <p:sp>
        <p:nvSpPr>
          <p:cNvPr id="19" name="TextBox 18">
            <a:extLst>
              <a:ext uri="{FF2B5EF4-FFF2-40B4-BE49-F238E27FC236}">
                <a16:creationId xmlns:a16="http://schemas.microsoft.com/office/drawing/2014/main" id="{AED6A09F-12BA-D7F4-2ABC-B96450364D82}"/>
              </a:ext>
            </a:extLst>
          </p:cNvPr>
          <p:cNvSpPr txBox="1"/>
          <p:nvPr userDrawn="1"/>
        </p:nvSpPr>
        <p:spPr>
          <a:xfrm>
            <a:off x="-989556" y="2514206"/>
            <a:ext cx="840540" cy="415498"/>
          </a:xfrm>
          <a:prstGeom prst="rect">
            <a:avLst/>
          </a:prstGeom>
          <a:noFill/>
        </p:spPr>
        <p:txBody>
          <a:bodyPr wrap="square" rtlCol="0">
            <a:spAutoFit/>
          </a:bodyPr>
          <a:lstStyle/>
          <a:p>
            <a:pPr algn="ctr"/>
            <a:r>
              <a:rPr lang="en-US" sz="1050"/>
              <a:t>Secondary</a:t>
            </a:r>
            <a:endParaRPr lang="en-CA" sz="1050"/>
          </a:p>
        </p:txBody>
      </p:sp>
      <p:sp>
        <p:nvSpPr>
          <p:cNvPr id="20" name="Rectangle 19">
            <a:extLst>
              <a:ext uri="{FF2B5EF4-FFF2-40B4-BE49-F238E27FC236}">
                <a16:creationId xmlns:a16="http://schemas.microsoft.com/office/drawing/2014/main" id="{5EC362E1-6B32-9857-8DA7-1B92BF9B60D5}"/>
              </a:ext>
            </a:extLst>
          </p:cNvPr>
          <p:cNvSpPr/>
          <p:nvPr userDrawn="1"/>
        </p:nvSpPr>
        <p:spPr>
          <a:xfrm>
            <a:off x="-881172" y="1842655"/>
            <a:ext cx="623775" cy="623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46</a:t>
            </a:r>
          </a:p>
          <a:p>
            <a:pPr algn="ctr"/>
            <a:r>
              <a:rPr lang="en-US" sz="1050"/>
              <a:t>137</a:t>
            </a:r>
          </a:p>
          <a:p>
            <a:pPr algn="ctr"/>
            <a:r>
              <a:rPr lang="en-US" sz="1050"/>
              <a:t>219</a:t>
            </a:r>
          </a:p>
        </p:txBody>
      </p:sp>
      <p:sp>
        <p:nvSpPr>
          <p:cNvPr id="22" name="TextBox 21">
            <a:extLst>
              <a:ext uri="{FF2B5EF4-FFF2-40B4-BE49-F238E27FC236}">
                <a16:creationId xmlns:a16="http://schemas.microsoft.com/office/drawing/2014/main" id="{C4206984-2D8C-7BE3-8259-EE4E72C938F5}"/>
              </a:ext>
            </a:extLst>
          </p:cNvPr>
          <p:cNvSpPr txBox="1"/>
          <p:nvPr userDrawn="1"/>
        </p:nvSpPr>
        <p:spPr>
          <a:xfrm>
            <a:off x="-1828093" y="3530206"/>
            <a:ext cx="764127" cy="415498"/>
          </a:xfrm>
          <a:prstGeom prst="rect">
            <a:avLst/>
          </a:prstGeom>
          <a:noFill/>
        </p:spPr>
        <p:txBody>
          <a:bodyPr wrap="square" rtlCol="0">
            <a:spAutoFit/>
          </a:bodyPr>
          <a:lstStyle/>
          <a:p>
            <a:pPr algn="ctr"/>
            <a:r>
              <a:rPr lang="en-US" sz="1050"/>
              <a:t>Accent 1</a:t>
            </a:r>
            <a:endParaRPr lang="en-CA" sz="1050"/>
          </a:p>
        </p:txBody>
      </p:sp>
      <p:sp>
        <p:nvSpPr>
          <p:cNvPr id="28" name="Rectangle 27">
            <a:extLst>
              <a:ext uri="{FF2B5EF4-FFF2-40B4-BE49-F238E27FC236}">
                <a16:creationId xmlns:a16="http://schemas.microsoft.com/office/drawing/2014/main" id="{10FBCB18-432E-6447-D0DF-A685A45E862C}"/>
              </a:ext>
            </a:extLst>
          </p:cNvPr>
          <p:cNvSpPr/>
          <p:nvPr userDrawn="1"/>
        </p:nvSpPr>
        <p:spPr>
          <a:xfrm>
            <a:off x="-1757918" y="2858655"/>
            <a:ext cx="623775" cy="623775"/>
          </a:xfrm>
          <a:prstGeom prst="rect">
            <a:avLst/>
          </a:prstGeom>
          <a:solidFill>
            <a:srgbClr val="74B1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16</a:t>
            </a:r>
          </a:p>
          <a:p>
            <a:pPr algn="ctr"/>
            <a:r>
              <a:rPr lang="en-US" sz="1050"/>
              <a:t>177</a:t>
            </a:r>
          </a:p>
          <a:p>
            <a:pPr algn="ctr"/>
            <a:r>
              <a:rPr lang="en-US" sz="1050"/>
              <a:t>231</a:t>
            </a:r>
          </a:p>
        </p:txBody>
      </p:sp>
      <p:sp>
        <p:nvSpPr>
          <p:cNvPr id="31" name="TextBox 30">
            <a:extLst>
              <a:ext uri="{FF2B5EF4-FFF2-40B4-BE49-F238E27FC236}">
                <a16:creationId xmlns:a16="http://schemas.microsoft.com/office/drawing/2014/main" id="{9E1036D1-AFFE-5FD0-7969-CB77700AAA22}"/>
              </a:ext>
            </a:extLst>
          </p:cNvPr>
          <p:cNvSpPr txBox="1"/>
          <p:nvPr userDrawn="1"/>
        </p:nvSpPr>
        <p:spPr>
          <a:xfrm>
            <a:off x="-989556" y="3530206"/>
            <a:ext cx="840540" cy="253916"/>
          </a:xfrm>
          <a:prstGeom prst="rect">
            <a:avLst/>
          </a:prstGeom>
          <a:noFill/>
        </p:spPr>
        <p:txBody>
          <a:bodyPr wrap="square" rtlCol="0">
            <a:spAutoFit/>
          </a:bodyPr>
          <a:lstStyle/>
          <a:p>
            <a:pPr algn="ctr"/>
            <a:r>
              <a:rPr lang="en-US" sz="1050"/>
              <a:t>Accent 2</a:t>
            </a:r>
            <a:endParaRPr lang="en-CA" sz="1050"/>
          </a:p>
        </p:txBody>
      </p:sp>
      <p:sp>
        <p:nvSpPr>
          <p:cNvPr id="32" name="Rectangle 31">
            <a:extLst>
              <a:ext uri="{FF2B5EF4-FFF2-40B4-BE49-F238E27FC236}">
                <a16:creationId xmlns:a16="http://schemas.microsoft.com/office/drawing/2014/main" id="{88B76CD8-7FE4-058C-6212-5BC94606E49D}"/>
              </a:ext>
            </a:extLst>
          </p:cNvPr>
          <p:cNvSpPr/>
          <p:nvPr userDrawn="1"/>
        </p:nvSpPr>
        <p:spPr>
          <a:xfrm>
            <a:off x="-881172" y="2858655"/>
            <a:ext cx="623775" cy="623775"/>
          </a:xfrm>
          <a:prstGeom prst="rect">
            <a:avLst/>
          </a:prstGeom>
          <a:solidFill>
            <a:srgbClr val="DDD9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221</a:t>
            </a:r>
          </a:p>
          <a:p>
            <a:pPr algn="ctr"/>
            <a:r>
              <a:rPr lang="en-US" sz="1050"/>
              <a:t>217</a:t>
            </a:r>
          </a:p>
          <a:p>
            <a:pPr algn="ctr"/>
            <a:r>
              <a:rPr lang="en-US" sz="1050"/>
              <a:t>195</a:t>
            </a:r>
          </a:p>
        </p:txBody>
      </p:sp>
      <p:sp>
        <p:nvSpPr>
          <p:cNvPr id="33" name="TextBox 32">
            <a:extLst>
              <a:ext uri="{FF2B5EF4-FFF2-40B4-BE49-F238E27FC236}">
                <a16:creationId xmlns:a16="http://schemas.microsoft.com/office/drawing/2014/main" id="{A3D5112E-70E4-8B13-A206-1E9D20426DF9}"/>
              </a:ext>
            </a:extLst>
          </p:cNvPr>
          <p:cNvSpPr txBox="1"/>
          <p:nvPr userDrawn="1"/>
        </p:nvSpPr>
        <p:spPr>
          <a:xfrm>
            <a:off x="-1828093" y="4546297"/>
            <a:ext cx="764127" cy="253916"/>
          </a:xfrm>
          <a:prstGeom prst="rect">
            <a:avLst/>
          </a:prstGeom>
          <a:noFill/>
        </p:spPr>
        <p:txBody>
          <a:bodyPr wrap="square" rtlCol="0">
            <a:spAutoFit/>
          </a:bodyPr>
          <a:lstStyle/>
          <a:p>
            <a:pPr algn="ctr"/>
            <a:r>
              <a:rPr lang="en-US" sz="1050"/>
              <a:t>Accent 3</a:t>
            </a:r>
            <a:endParaRPr lang="en-CA" sz="1050"/>
          </a:p>
        </p:txBody>
      </p:sp>
      <p:sp>
        <p:nvSpPr>
          <p:cNvPr id="34" name="Rectangle 33">
            <a:extLst>
              <a:ext uri="{FF2B5EF4-FFF2-40B4-BE49-F238E27FC236}">
                <a16:creationId xmlns:a16="http://schemas.microsoft.com/office/drawing/2014/main" id="{D998FE6F-7093-107D-AFC0-A9052EBF2A19}"/>
              </a:ext>
            </a:extLst>
          </p:cNvPr>
          <p:cNvSpPr/>
          <p:nvPr userDrawn="1"/>
        </p:nvSpPr>
        <p:spPr>
          <a:xfrm>
            <a:off x="-1757918" y="3874746"/>
            <a:ext cx="623775" cy="623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8</a:t>
            </a:r>
          </a:p>
          <a:p>
            <a:pPr algn="ctr"/>
            <a:r>
              <a:rPr lang="en-US" sz="1050"/>
              <a:t>26</a:t>
            </a:r>
          </a:p>
          <a:p>
            <a:pPr algn="ctr"/>
            <a:r>
              <a:rPr lang="en-US" sz="1050"/>
              <a:t>44</a:t>
            </a:r>
          </a:p>
        </p:txBody>
      </p:sp>
      <p:sp>
        <p:nvSpPr>
          <p:cNvPr id="35" name="TextBox 34">
            <a:extLst>
              <a:ext uri="{FF2B5EF4-FFF2-40B4-BE49-F238E27FC236}">
                <a16:creationId xmlns:a16="http://schemas.microsoft.com/office/drawing/2014/main" id="{15B44773-9FF7-8443-845B-14EC81EC1A1D}"/>
              </a:ext>
            </a:extLst>
          </p:cNvPr>
          <p:cNvSpPr txBox="1"/>
          <p:nvPr userDrawn="1"/>
        </p:nvSpPr>
        <p:spPr>
          <a:xfrm>
            <a:off x="-989556" y="4546297"/>
            <a:ext cx="840540" cy="253916"/>
          </a:xfrm>
          <a:prstGeom prst="rect">
            <a:avLst/>
          </a:prstGeom>
          <a:noFill/>
        </p:spPr>
        <p:txBody>
          <a:bodyPr wrap="square" rtlCol="0">
            <a:spAutoFit/>
          </a:bodyPr>
          <a:lstStyle/>
          <a:p>
            <a:pPr algn="ctr"/>
            <a:r>
              <a:rPr lang="en-US" sz="1050"/>
              <a:t>Accent 4</a:t>
            </a:r>
            <a:endParaRPr lang="en-CA" sz="1050"/>
          </a:p>
        </p:txBody>
      </p:sp>
      <p:sp>
        <p:nvSpPr>
          <p:cNvPr id="36" name="Rectangle 35">
            <a:extLst>
              <a:ext uri="{FF2B5EF4-FFF2-40B4-BE49-F238E27FC236}">
                <a16:creationId xmlns:a16="http://schemas.microsoft.com/office/drawing/2014/main" id="{CD384A26-DAD0-C2F5-6F6D-1E99E089B400}"/>
              </a:ext>
            </a:extLst>
          </p:cNvPr>
          <p:cNvSpPr/>
          <p:nvPr userDrawn="1"/>
        </p:nvSpPr>
        <p:spPr>
          <a:xfrm>
            <a:off x="-881172" y="3874746"/>
            <a:ext cx="623775" cy="62377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221</a:t>
            </a:r>
          </a:p>
          <a:p>
            <a:pPr algn="ctr"/>
            <a:r>
              <a:rPr lang="en-US" sz="1050"/>
              <a:t>221</a:t>
            </a:r>
          </a:p>
          <a:p>
            <a:pPr algn="ctr"/>
            <a:r>
              <a:rPr lang="en-US" sz="1050"/>
              <a:t>221</a:t>
            </a:r>
          </a:p>
        </p:txBody>
      </p:sp>
      <p:pic>
        <p:nvPicPr>
          <p:cNvPr id="5" name="Picture 4" descr="A picture containing text, clipart&#10;&#10;Description automatically generated">
            <a:extLst>
              <a:ext uri="{FF2B5EF4-FFF2-40B4-BE49-F238E27FC236}">
                <a16:creationId xmlns:a16="http://schemas.microsoft.com/office/drawing/2014/main" id="{A39148CD-CDE5-CD71-E05F-D413E892AC4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1" name="TextBox 10">
            <a:extLst>
              <a:ext uri="{FF2B5EF4-FFF2-40B4-BE49-F238E27FC236}">
                <a16:creationId xmlns:a16="http://schemas.microsoft.com/office/drawing/2014/main" id="{A34C00C7-2D9A-0E42-A581-B4EE6EF3CB81}"/>
              </a:ext>
            </a:extLst>
          </p:cNvPr>
          <p:cNvSpPr txBox="1"/>
          <p:nvPr userDrawn="1"/>
        </p:nvSpPr>
        <p:spPr>
          <a:xfrm>
            <a:off x="6893566" y="253830"/>
            <a:ext cx="1641595" cy="230832"/>
          </a:xfrm>
          <a:prstGeom prst="rect">
            <a:avLst/>
          </a:prstGeom>
          <a:noFill/>
        </p:spPr>
        <p:txBody>
          <a:bodyPr wrap="square" rtlCol="0" anchor="ctr">
            <a:spAutoFit/>
          </a:bodyPr>
          <a:lstStyle/>
          <a:p>
            <a:pPr algn="r"/>
            <a:r>
              <a:rPr lang="en-US" sz="900">
                <a:solidFill>
                  <a:schemeClr val="bg2"/>
                </a:solidFill>
              </a:rPr>
              <a:t>TFS INVESTMENT GROUP</a:t>
            </a:r>
          </a:p>
        </p:txBody>
      </p:sp>
      <p:sp>
        <p:nvSpPr>
          <p:cNvPr id="16" name="Rectangle 15">
            <a:extLst>
              <a:ext uri="{FF2B5EF4-FFF2-40B4-BE49-F238E27FC236}">
                <a16:creationId xmlns:a16="http://schemas.microsoft.com/office/drawing/2014/main" id="{DE43BD0D-B9C9-2DD7-9533-304F10702F23}"/>
              </a:ext>
            </a:extLst>
          </p:cNvPr>
          <p:cNvSpPr/>
          <p:nvPr userDrawn="1"/>
        </p:nvSpPr>
        <p:spPr>
          <a:xfrm>
            <a:off x="9264503" y="-1"/>
            <a:ext cx="1842977" cy="5341121"/>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900" b="1">
                <a:solidFill>
                  <a:schemeClr val="tx1"/>
                </a:solidFill>
                <a:latin typeface="+mj-lt"/>
              </a:rPr>
              <a:t>Font: Arial</a:t>
            </a:r>
          </a:p>
          <a:p>
            <a:pPr marL="171450" indent="-171450" algn="l">
              <a:buClr>
                <a:schemeClr val="accent1"/>
              </a:buClr>
              <a:buFont typeface="Wingdings" panose="05000000000000000000" pitchFamily="2" charset="2"/>
              <a:buChar char="§"/>
            </a:pPr>
            <a:r>
              <a:rPr lang="en-US" sz="900">
                <a:solidFill>
                  <a:schemeClr val="tx1"/>
                </a:solidFill>
                <a:latin typeface="+mj-lt"/>
              </a:rPr>
              <a:t>Title: 20</a:t>
            </a:r>
          </a:p>
          <a:p>
            <a:pPr marL="171450" indent="-171450" algn="l">
              <a:buClr>
                <a:schemeClr val="accent1"/>
              </a:buClr>
              <a:buFont typeface="Wingdings" panose="05000000000000000000" pitchFamily="2" charset="2"/>
              <a:buChar char="§"/>
            </a:pPr>
            <a:r>
              <a:rPr lang="en-US" sz="900">
                <a:solidFill>
                  <a:schemeClr val="tx1"/>
                </a:solidFill>
                <a:latin typeface="+mj-lt"/>
              </a:rPr>
              <a:t>Subtitle: 14</a:t>
            </a:r>
          </a:p>
          <a:p>
            <a:pPr marL="171450" indent="-171450" algn="l">
              <a:buClr>
                <a:schemeClr val="accent1"/>
              </a:buClr>
              <a:buFont typeface="Wingdings" panose="05000000000000000000" pitchFamily="2" charset="2"/>
              <a:buChar char="§"/>
            </a:pPr>
            <a:r>
              <a:rPr lang="en-US" sz="900">
                <a:solidFill>
                  <a:schemeClr val="tx1"/>
                </a:solidFill>
                <a:latin typeface="+mj-lt"/>
              </a:rPr>
              <a:t>Content Headings: 12</a:t>
            </a:r>
          </a:p>
          <a:p>
            <a:pPr marL="171450" indent="-171450" algn="l">
              <a:buClr>
                <a:schemeClr val="accent1"/>
              </a:buClr>
              <a:buFont typeface="Wingdings" panose="05000000000000000000" pitchFamily="2" charset="2"/>
              <a:buChar char="§"/>
            </a:pPr>
            <a:r>
              <a:rPr lang="en-US" sz="900">
                <a:solidFill>
                  <a:schemeClr val="tx1"/>
                </a:solidFill>
                <a:latin typeface="+mj-lt"/>
              </a:rPr>
              <a:t>General: 9</a:t>
            </a:r>
          </a:p>
          <a:p>
            <a:pPr marL="171450" indent="-171450" algn="l">
              <a:buClr>
                <a:schemeClr val="accent1"/>
              </a:buClr>
              <a:buFont typeface="Wingdings" panose="05000000000000000000" pitchFamily="2" charset="2"/>
              <a:buChar char="§"/>
            </a:pPr>
            <a:r>
              <a:rPr lang="en-US" sz="900">
                <a:solidFill>
                  <a:schemeClr val="tx1"/>
                </a:solidFill>
                <a:latin typeface="+mj-lt"/>
              </a:rPr>
              <a:t>Graphs: 9</a:t>
            </a:r>
          </a:p>
          <a:p>
            <a:pPr algn="l"/>
            <a:endParaRPr lang="en-US" sz="900" b="1">
              <a:solidFill>
                <a:schemeClr val="tx1"/>
              </a:solidFill>
              <a:latin typeface="+mj-lt"/>
            </a:endParaRPr>
          </a:p>
          <a:p>
            <a:pPr algn="l"/>
            <a:r>
              <a:rPr lang="en-US" sz="900" b="1">
                <a:solidFill>
                  <a:schemeClr val="tx1"/>
                </a:solidFill>
                <a:latin typeface="+mj-lt"/>
              </a:rPr>
              <a:t>Dollar Notation</a:t>
            </a:r>
          </a:p>
          <a:p>
            <a:pPr marL="171450" indent="-171450" algn="l">
              <a:buClr>
                <a:schemeClr val="accent1"/>
              </a:buClr>
              <a:buFont typeface="Wingdings" panose="05000000000000000000" pitchFamily="2" charset="2"/>
              <a:buChar char="§"/>
            </a:pPr>
            <a:r>
              <a:rPr lang="en-US" sz="900">
                <a:solidFill>
                  <a:schemeClr val="tx1"/>
                </a:solidFill>
                <a:latin typeface="+mj-lt"/>
              </a:rPr>
              <a:t>General - $#mm and $#bn</a:t>
            </a:r>
          </a:p>
          <a:p>
            <a:pPr marL="171450" indent="-171450" algn="l">
              <a:buClr>
                <a:schemeClr val="accent1"/>
              </a:buClr>
              <a:buFont typeface="Wingdings" panose="05000000000000000000" pitchFamily="2" charset="2"/>
              <a:buChar char="§"/>
            </a:pPr>
            <a:r>
              <a:rPr lang="en-US" sz="900">
                <a:solidFill>
                  <a:schemeClr val="tx1"/>
                </a:solidFill>
                <a:latin typeface="+mj-lt"/>
              </a:rPr>
              <a:t>Currency - US$## and C$##</a:t>
            </a:r>
          </a:p>
          <a:p>
            <a:pPr marL="171450" indent="-171450" algn="l">
              <a:buClr>
                <a:schemeClr val="accent1"/>
              </a:buClr>
              <a:buFont typeface="Wingdings" panose="05000000000000000000" pitchFamily="2" charset="2"/>
              <a:buChar char="§"/>
            </a:pPr>
            <a:r>
              <a:rPr lang="en-US" sz="900">
                <a:solidFill>
                  <a:schemeClr val="tx1"/>
                </a:solidFill>
                <a:latin typeface="+mj-lt"/>
              </a:rPr>
              <a:t>Ranges - $#-#mm (and bn)</a:t>
            </a:r>
          </a:p>
          <a:p>
            <a:pPr marL="171450" indent="-171450" algn="l">
              <a:buClr>
                <a:schemeClr val="accent1"/>
              </a:buClr>
              <a:buFont typeface="Wingdings" panose="05000000000000000000" pitchFamily="2" charset="2"/>
              <a:buChar char="§"/>
            </a:pPr>
            <a:r>
              <a:rPr lang="en-US" sz="900">
                <a:solidFill>
                  <a:schemeClr val="tx1"/>
                </a:solidFill>
                <a:latin typeface="+mj-lt"/>
              </a:rPr>
              <a:t>1 decimal place, 2 for per share</a:t>
            </a:r>
          </a:p>
          <a:p>
            <a:pPr marL="171450" indent="-171450" algn="l">
              <a:buClr>
                <a:schemeClr val="accent1"/>
              </a:buClr>
              <a:buFont typeface="Wingdings" panose="05000000000000000000" pitchFamily="2" charset="2"/>
              <a:buChar char="§"/>
            </a:pPr>
            <a:r>
              <a:rPr lang="en-US" sz="900">
                <a:solidFill>
                  <a:schemeClr val="tx1"/>
                </a:solidFill>
                <a:latin typeface="+mj-lt"/>
              </a:rPr>
              <a:t>General - #,##0.0;(#,##0.0);-</a:t>
            </a:r>
          </a:p>
          <a:p>
            <a:pPr marL="171450" indent="-171450" algn="l">
              <a:buClr>
                <a:schemeClr val="accent1"/>
              </a:buClr>
              <a:buFont typeface="Wingdings" panose="05000000000000000000" pitchFamily="2" charset="2"/>
              <a:buChar char="§"/>
            </a:pPr>
            <a:endParaRPr lang="en-US" sz="900">
              <a:solidFill>
                <a:schemeClr val="tx1"/>
              </a:solidFill>
              <a:latin typeface="+mj-lt"/>
            </a:endParaRPr>
          </a:p>
          <a:p>
            <a:pPr marL="0" indent="0" algn="l">
              <a:buClr>
                <a:schemeClr val="accent1"/>
              </a:buClr>
              <a:buFont typeface="Wingdings" panose="05000000000000000000" pitchFamily="2" charset="2"/>
              <a:buNone/>
            </a:pPr>
            <a:r>
              <a:rPr lang="en-US" sz="900" b="1">
                <a:solidFill>
                  <a:schemeClr val="tx1"/>
                </a:solidFill>
                <a:latin typeface="+mj-lt"/>
              </a:rPr>
              <a:t>Sources and Footnote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Mark footnote with </a:t>
            </a:r>
            <a:r>
              <a:rPr lang="en-US" sz="900" i="1" baseline="30000">
                <a:solidFill>
                  <a:schemeClr val="tx1"/>
                </a:solidFill>
                <a:latin typeface="+mj-lt"/>
              </a:rPr>
              <a:t>(#) </a:t>
            </a:r>
            <a:r>
              <a:rPr lang="en-US" sz="900" i="0" baseline="0">
                <a:solidFill>
                  <a:schemeClr val="tx1"/>
                </a:solidFill>
                <a:latin typeface="+mj-lt"/>
              </a:rPr>
              <a:t>in your tex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i="0" baseline="0">
                <a:solidFill>
                  <a:schemeClr val="tx1"/>
                </a:solidFill>
                <a:latin typeface="+mj-lt"/>
              </a:rPr>
              <a:t>Begin footnote with (#) in the footer and “Sources:” (even if there is only one source)</a:t>
            </a:r>
            <a:endParaRPr lang="en-US" sz="900" i="0" baseline="300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lways pt 7 font siz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Capitalized Cas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and” between 2</a:t>
            </a:r>
            <a:r>
              <a:rPr lang="en-US" sz="900" baseline="30000">
                <a:solidFill>
                  <a:schemeClr val="tx1"/>
                </a:solidFill>
                <a:latin typeface="+mj-lt"/>
              </a:rPr>
              <a:t>nd</a:t>
            </a:r>
            <a:r>
              <a:rPr lang="en-US" sz="900">
                <a:solidFill>
                  <a:schemeClr val="tx1"/>
                </a:solidFill>
                <a:latin typeface="+mj-lt"/>
              </a:rPr>
              <a:t> last and last sourc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i.e. (1) Sources: Bloomberg</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900" b="1">
                <a:solidFill>
                  <a:schemeClr val="tx1"/>
                </a:solidFill>
                <a:latin typeface="+mj-lt"/>
              </a:rPr>
              <a:t>Charts and Graph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nt size 9 and Arial 9 (black fon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llow number notations abov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Use </a:t>
            </a:r>
            <a:r>
              <a:rPr lang="en-US" sz="900" err="1">
                <a:solidFill>
                  <a:schemeClr val="tx1"/>
                </a:solidFill>
                <a:latin typeface="+mj-lt"/>
              </a:rPr>
              <a:t>TFSIGcolours</a:t>
            </a: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lines – Black</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tick marks – major and outsid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horizontal or vertical lines (default grey ones)</a:t>
            </a:r>
          </a:p>
        </p:txBody>
      </p:sp>
    </p:spTree>
    <p:extLst>
      <p:ext uri="{BB962C8B-B14F-4D97-AF65-F5344CB8AC3E}">
        <p14:creationId xmlns:p14="http://schemas.microsoft.com/office/powerpoint/2010/main" val="108896749"/>
      </p:ext>
    </p:extLst>
  </p:cSld>
  <p:clrMap bg1="lt1" tx1="dk1" bg2="lt2" tx2="dk2" accent1="accent1" accent2="accent2" accent3="accent3" accent4="accent4" accent5="accent5" accent6="accent6" hlink="hlink" folHlink="folHlink"/>
  <p:sldLayoutIdLst>
    <p:sldLayoutId id="2147483699" r:id="rId1"/>
    <p:sldLayoutId id="2147483704" r:id="rId2"/>
    <p:sldLayoutId id="2147483695" r:id="rId3"/>
  </p:sldLayoutIdLst>
  <p:txStyles>
    <p:titleStyle>
      <a:lvl1pPr algn="l" defTabSz="914400" rtl="0" eaLnBrk="1" latinLnBrk="0" hangingPunct="1">
        <a:lnSpc>
          <a:spcPct val="100000"/>
        </a:lnSpc>
        <a:spcBef>
          <a:spcPct val="0"/>
        </a:spcBef>
        <a:buNone/>
        <a:defRPr sz="2000" kern="1200">
          <a:solidFill>
            <a:schemeClr val="accent1"/>
          </a:solidFill>
          <a:latin typeface="+mj-lt"/>
          <a:ea typeface="+mj-ea"/>
          <a:cs typeface="Goldman Sans Bold" panose="020B0803020203020204" pitchFamily="34" charset="0"/>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Master Tit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8" name="Date Placeholder 7">
            <a:extLst>
              <a:ext uri="{FF2B5EF4-FFF2-40B4-BE49-F238E27FC236}">
                <a16:creationId xmlns:a16="http://schemas.microsoft.com/office/drawing/2014/main" id="{D812E4C5-967F-4468-9D64-7C21F0F98D40}"/>
              </a:ext>
            </a:extLst>
          </p:cNvPr>
          <p:cNvSpPr>
            <a:spLocks noGrp="1"/>
          </p:cNvSpPr>
          <p:nvPr>
            <p:ph type="dt" sz="half" idx="2"/>
          </p:nvPr>
        </p:nvSpPr>
        <p:spPr>
          <a:xfrm>
            <a:off x="628650" y="6356358"/>
            <a:ext cx="20574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368A9EC3-EB35-4F5D-A481-D043DD8BAC84}" type="datetimeFigureOut">
              <a:rPr lang="en-US" smtClean="0"/>
              <a:pPr/>
              <a:t>12/2/2024</a:t>
            </a:fld>
            <a:endParaRPr lang="en-US"/>
          </a:p>
        </p:txBody>
      </p:sp>
      <p:sp>
        <p:nvSpPr>
          <p:cNvPr id="9" name="Footer Placeholder 8">
            <a:extLst>
              <a:ext uri="{FF2B5EF4-FFF2-40B4-BE49-F238E27FC236}">
                <a16:creationId xmlns:a16="http://schemas.microsoft.com/office/drawing/2014/main" id="{CC3C1695-E68D-41C7-86C7-181E28280176}"/>
              </a:ext>
            </a:extLst>
          </p:cNvPr>
          <p:cNvSpPr>
            <a:spLocks noGrp="1"/>
          </p:cNvSpPr>
          <p:nvPr>
            <p:ph type="ftr" sz="quarter" idx="3"/>
          </p:nvPr>
        </p:nvSpPr>
        <p:spPr>
          <a:xfrm>
            <a:off x="3028950" y="6356358"/>
            <a:ext cx="30861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endParaRPr lang="en-US"/>
          </a:p>
        </p:txBody>
      </p:sp>
      <p:sp>
        <p:nvSpPr>
          <p:cNvPr id="10" name="Slide Number Placeholder 9">
            <a:extLst>
              <a:ext uri="{FF2B5EF4-FFF2-40B4-BE49-F238E27FC236}">
                <a16:creationId xmlns:a16="http://schemas.microsoft.com/office/drawing/2014/main" id="{5C547560-5BA1-421D-911E-18D76B3441D6}"/>
              </a:ext>
            </a:extLst>
          </p:cNvPr>
          <p:cNvSpPr>
            <a:spLocks noGrp="1"/>
          </p:cNvSpPr>
          <p:nvPr>
            <p:ph type="sldNum" sz="quarter" idx="4"/>
          </p:nvPr>
        </p:nvSpPr>
        <p:spPr>
          <a:xfrm>
            <a:off x="6457950" y="6356358"/>
            <a:ext cx="20574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Goldman Sans Thin" panose="020B0303020203020204" pitchFamily="34" charset="0"/>
              </a:defRPr>
            </a:lvl1pPr>
          </a:lstStyle>
          <a:p>
            <a:fld id="{1B80B332-6B81-4811-A13B-2B89943A5333}" type="slidenum">
              <a:rPr lang="en-US" smtClean="0"/>
              <a:pPr/>
              <a:t>‹#›</a:t>
            </a:fld>
            <a:endParaRPr lang="en-US"/>
          </a:p>
        </p:txBody>
      </p:sp>
      <p:sp>
        <p:nvSpPr>
          <p:cNvPr id="4" name="Rectangle 3">
            <a:extLst>
              <a:ext uri="{FF2B5EF4-FFF2-40B4-BE49-F238E27FC236}">
                <a16:creationId xmlns:a16="http://schemas.microsoft.com/office/drawing/2014/main" id="{A3E98B7F-4DAA-1283-5D39-68D4AEAFC324}"/>
              </a:ext>
            </a:extLst>
          </p:cNvPr>
          <p:cNvSpPr/>
          <p:nvPr userDrawn="1"/>
        </p:nvSpPr>
        <p:spPr>
          <a:xfrm>
            <a:off x="-1963479" y="0"/>
            <a:ext cx="1842977" cy="5341120"/>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900">
              <a:solidFill>
                <a:schemeClr val="tx1"/>
              </a:solidFill>
              <a:latin typeface="+mj-lt"/>
            </a:endParaRPr>
          </a:p>
        </p:txBody>
      </p:sp>
      <p:graphicFrame>
        <p:nvGraphicFramePr>
          <p:cNvPr id="6" name="Table 8">
            <a:extLst>
              <a:ext uri="{FF2B5EF4-FFF2-40B4-BE49-F238E27FC236}">
                <a16:creationId xmlns:a16="http://schemas.microsoft.com/office/drawing/2014/main" id="{AC2C8BEE-05CE-E164-CC60-9DCF360E0523}"/>
              </a:ext>
            </a:extLst>
          </p:cNvPr>
          <p:cNvGraphicFramePr>
            <a:graphicFrameLocks/>
          </p:cNvGraphicFramePr>
          <p:nvPr userDrawn="1"/>
        </p:nvGraphicFramePr>
        <p:xfrm>
          <a:off x="-1757915" y="141441"/>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a:solidFill>
                            <a:schemeClr val="tx2"/>
                          </a:solidFill>
                          <a:latin typeface="+mj-lt"/>
                        </a:rPr>
                        <a:t>Font 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Rectangle 6">
            <a:extLst>
              <a:ext uri="{FF2B5EF4-FFF2-40B4-BE49-F238E27FC236}">
                <a16:creationId xmlns:a16="http://schemas.microsoft.com/office/drawing/2014/main" id="{35AEC9A5-A30E-99DB-F0F9-CC2A83CEBFB0}"/>
              </a:ext>
            </a:extLst>
          </p:cNvPr>
          <p:cNvSpPr/>
          <p:nvPr userDrawn="1"/>
        </p:nvSpPr>
        <p:spPr>
          <a:xfrm>
            <a:off x="-1757915" y="484666"/>
            <a:ext cx="623775" cy="623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0</a:t>
            </a:r>
          </a:p>
          <a:p>
            <a:pPr algn="ctr"/>
            <a:r>
              <a:rPr lang="en-US" sz="1050"/>
              <a:t>0</a:t>
            </a:r>
          </a:p>
          <a:p>
            <a:pPr algn="ctr"/>
            <a:r>
              <a:rPr lang="en-US" sz="1050"/>
              <a:t>0</a:t>
            </a:r>
          </a:p>
        </p:txBody>
      </p:sp>
      <p:sp>
        <p:nvSpPr>
          <p:cNvPr id="12" name="TextBox 11">
            <a:extLst>
              <a:ext uri="{FF2B5EF4-FFF2-40B4-BE49-F238E27FC236}">
                <a16:creationId xmlns:a16="http://schemas.microsoft.com/office/drawing/2014/main" id="{44718FC3-D108-23F3-F8EC-696452B21295}"/>
              </a:ext>
            </a:extLst>
          </p:cNvPr>
          <p:cNvSpPr txBox="1"/>
          <p:nvPr userDrawn="1"/>
        </p:nvSpPr>
        <p:spPr>
          <a:xfrm>
            <a:off x="-1793358" y="1156213"/>
            <a:ext cx="694661" cy="253916"/>
          </a:xfrm>
          <a:prstGeom prst="rect">
            <a:avLst/>
          </a:prstGeom>
          <a:noFill/>
        </p:spPr>
        <p:txBody>
          <a:bodyPr wrap="square" rtlCol="0">
            <a:spAutoFit/>
          </a:bodyPr>
          <a:lstStyle/>
          <a:p>
            <a:pPr algn="ctr"/>
            <a:r>
              <a:rPr lang="en-US" sz="1050"/>
              <a:t>General</a:t>
            </a:r>
            <a:endParaRPr lang="en-CA" sz="1050"/>
          </a:p>
        </p:txBody>
      </p:sp>
      <p:sp>
        <p:nvSpPr>
          <p:cNvPr id="13" name="Rectangle 12">
            <a:extLst>
              <a:ext uri="{FF2B5EF4-FFF2-40B4-BE49-F238E27FC236}">
                <a16:creationId xmlns:a16="http://schemas.microsoft.com/office/drawing/2014/main" id="{D14F1B15-4C5A-BD8F-A30A-BD19EEDF4B53}"/>
              </a:ext>
            </a:extLst>
          </p:cNvPr>
          <p:cNvSpPr/>
          <p:nvPr userDrawn="1"/>
        </p:nvSpPr>
        <p:spPr>
          <a:xfrm>
            <a:off x="-881171" y="484666"/>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5</a:t>
            </a:r>
          </a:p>
          <a:p>
            <a:pPr algn="ctr"/>
            <a:r>
              <a:rPr lang="en-US" sz="1050"/>
              <a:t>53</a:t>
            </a:r>
          </a:p>
          <a:p>
            <a:pPr algn="ctr"/>
            <a:r>
              <a:rPr lang="en-US" sz="1050"/>
              <a:t>87</a:t>
            </a:r>
          </a:p>
        </p:txBody>
      </p:sp>
      <p:sp>
        <p:nvSpPr>
          <p:cNvPr id="14" name="TextBox 13">
            <a:extLst>
              <a:ext uri="{FF2B5EF4-FFF2-40B4-BE49-F238E27FC236}">
                <a16:creationId xmlns:a16="http://schemas.microsoft.com/office/drawing/2014/main" id="{50A98D96-C95C-34D5-0119-DA7D722BF98C}"/>
              </a:ext>
            </a:extLst>
          </p:cNvPr>
          <p:cNvSpPr txBox="1"/>
          <p:nvPr userDrawn="1"/>
        </p:nvSpPr>
        <p:spPr>
          <a:xfrm>
            <a:off x="-916614" y="1156213"/>
            <a:ext cx="694661" cy="253916"/>
          </a:xfrm>
          <a:prstGeom prst="rect">
            <a:avLst/>
          </a:prstGeom>
          <a:noFill/>
        </p:spPr>
        <p:txBody>
          <a:bodyPr wrap="square" rtlCol="0">
            <a:spAutoFit/>
          </a:bodyPr>
          <a:lstStyle/>
          <a:p>
            <a:pPr algn="ctr"/>
            <a:r>
              <a:rPr lang="en-US" sz="1050" err="1"/>
              <a:t>Colour</a:t>
            </a:r>
            <a:endParaRPr lang="en-CA" sz="1050"/>
          </a:p>
        </p:txBody>
      </p:sp>
      <p:graphicFrame>
        <p:nvGraphicFramePr>
          <p:cNvPr id="15" name="Table 8">
            <a:extLst>
              <a:ext uri="{FF2B5EF4-FFF2-40B4-BE49-F238E27FC236}">
                <a16:creationId xmlns:a16="http://schemas.microsoft.com/office/drawing/2014/main" id="{670A8C97-741E-2B82-1217-8F2BC954A4DD}"/>
              </a:ext>
            </a:extLst>
          </p:cNvPr>
          <p:cNvGraphicFramePr>
            <a:graphicFrameLocks/>
          </p:cNvGraphicFramePr>
          <p:nvPr userDrawn="1"/>
        </p:nvGraphicFramePr>
        <p:xfrm>
          <a:off x="-1757915" y="1500662"/>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7" name="TextBox 16">
            <a:extLst>
              <a:ext uri="{FF2B5EF4-FFF2-40B4-BE49-F238E27FC236}">
                <a16:creationId xmlns:a16="http://schemas.microsoft.com/office/drawing/2014/main" id="{686F4546-CD9C-FAF7-D157-367198FCCFC5}"/>
              </a:ext>
            </a:extLst>
          </p:cNvPr>
          <p:cNvSpPr txBox="1"/>
          <p:nvPr userDrawn="1"/>
        </p:nvSpPr>
        <p:spPr>
          <a:xfrm>
            <a:off x="-1793358" y="2514206"/>
            <a:ext cx="694661" cy="253916"/>
          </a:xfrm>
          <a:prstGeom prst="rect">
            <a:avLst/>
          </a:prstGeom>
          <a:noFill/>
        </p:spPr>
        <p:txBody>
          <a:bodyPr wrap="square" rtlCol="0">
            <a:spAutoFit/>
          </a:bodyPr>
          <a:lstStyle/>
          <a:p>
            <a:pPr algn="ctr"/>
            <a:r>
              <a:rPr lang="en-US" sz="1050"/>
              <a:t>Primary</a:t>
            </a:r>
            <a:endParaRPr lang="en-CA" sz="1050"/>
          </a:p>
        </p:txBody>
      </p:sp>
      <p:sp>
        <p:nvSpPr>
          <p:cNvPr id="18" name="Rectangle 17">
            <a:extLst>
              <a:ext uri="{FF2B5EF4-FFF2-40B4-BE49-F238E27FC236}">
                <a16:creationId xmlns:a16="http://schemas.microsoft.com/office/drawing/2014/main" id="{5ED42EC4-8947-9721-80D1-EE1CA1F5A265}"/>
              </a:ext>
            </a:extLst>
          </p:cNvPr>
          <p:cNvSpPr/>
          <p:nvPr userDrawn="1"/>
        </p:nvSpPr>
        <p:spPr>
          <a:xfrm>
            <a:off x="-1757918" y="1842659"/>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5</a:t>
            </a:r>
          </a:p>
          <a:p>
            <a:pPr algn="ctr"/>
            <a:r>
              <a:rPr lang="en-US" sz="1050"/>
              <a:t>53</a:t>
            </a:r>
          </a:p>
          <a:p>
            <a:pPr algn="ctr"/>
            <a:r>
              <a:rPr lang="en-US" sz="1050"/>
              <a:t>87</a:t>
            </a:r>
          </a:p>
        </p:txBody>
      </p:sp>
      <p:sp>
        <p:nvSpPr>
          <p:cNvPr id="19" name="TextBox 18">
            <a:extLst>
              <a:ext uri="{FF2B5EF4-FFF2-40B4-BE49-F238E27FC236}">
                <a16:creationId xmlns:a16="http://schemas.microsoft.com/office/drawing/2014/main" id="{AED6A09F-12BA-D7F4-2ABC-B96450364D82}"/>
              </a:ext>
            </a:extLst>
          </p:cNvPr>
          <p:cNvSpPr txBox="1"/>
          <p:nvPr userDrawn="1"/>
        </p:nvSpPr>
        <p:spPr>
          <a:xfrm>
            <a:off x="-989556" y="2514206"/>
            <a:ext cx="840540" cy="253916"/>
          </a:xfrm>
          <a:prstGeom prst="rect">
            <a:avLst/>
          </a:prstGeom>
          <a:noFill/>
        </p:spPr>
        <p:txBody>
          <a:bodyPr wrap="square" rtlCol="0">
            <a:spAutoFit/>
          </a:bodyPr>
          <a:lstStyle/>
          <a:p>
            <a:pPr algn="ctr"/>
            <a:r>
              <a:rPr lang="en-US" sz="1050"/>
              <a:t>Secondary</a:t>
            </a:r>
            <a:endParaRPr lang="en-CA" sz="1050"/>
          </a:p>
        </p:txBody>
      </p:sp>
      <p:sp>
        <p:nvSpPr>
          <p:cNvPr id="20" name="Rectangle 19">
            <a:extLst>
              <a:ext uri="{FF2B5EF4-FFF2-40B4-BE49-F238E27FC236}">
                <a16:creationId xmlns:a16="http://schemas.microsoft.com/office/drawing/2014/main" id="{5EC362E1-6B32-9857-8DA7-1B92BF9B60D5}"/>
              </a:ext>
            </a:extLst>
          </p:cNvPr>
          <p:cNvSpPr/>
          <p:nvPr userDrawn="1"/>
        </p:nvSpPr>
        <p:spPr>
          <a:xfrm>
            <a:off x="-881171" y="1842659"/>
            <a:ext cx="623775" cy="623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46</a:t>
            </a:r>
          </a:p>
          <a:p>
            <a:pPr algn="ctr"/>
            <a:r>
              <a:rPr lang="en-US" sz="1050"/>
              <a:t>137</a:t>
            </a:r>
          </a:p>
          <a:p>
            <a:pPr algn="ctr"/>
            <a:r>
              <a:rPr lang="en-US" sz="1050"/>
              <a:t>219</a:t>
            </a:r>
          </a:p>
        </p:txBody>
      </p:sp>
      <p:sp>
        <p:nvSpPr>
          <p:cNvPr id="22" name="TextBox 21">
            <a:extLst>
              <a:ext uri="{FF2B5EF4-FFF2-40B4-BE49-F238E27FC236}">
                <a16:creationId xmlns:a16="http://schemas.microsoft.com/office/drawing/2014/main" id="{C4206984-2D8C-7BE3-8259-EE4E72C938F5}"/>
              </a:ext>
            </a:extLst>
          </p:cNvPr>
          <p:cNvSpPr txBox="1"/>
          <p:nvPr userDrawn="1"/>
        </p:nvSpPr>
        <p:spPr>
          <a:xfrm>
            <a:off x="-1828093" y="3530206"/>
            <a:ext cx="764127" cy="253916"/>
          </a:xfrm>
          <a:prstGeom prst="rect">
            <a:avLst/>
          </a:prstGeom>
          <a:noFill/>
        </p:spPr>
        <p:txBody>
          <a:bodyPr wrap="square" rtlCol="0">
            <a:spAutoFit/>
          </a:bodyPr>
          <a:lstStyle/>
          <a:p>
            <a:pPr algn="ctr"/>
            <a:r>
              <a:rPr lang="en-US" sz="1050"/>
              <a:t>Accent 1</a:t>
            </a:r>
            <a:endParaRPr lang="en-CA" sz="1050"/>
          </a:p>
        </p:txBody>
      </p:sp>
      <p:sp>
        <p:nvSpPr>
          <p:cNvPr id="28" name="Rectangle 27">
            <a:extLst>
              <a:ext uri="{FF2B5EF4-FFF2-40B4-BE49-F238E27FC236}">
                <a16:creationId xmlns:a16="http://schemas.microsoft.com/office/drawing/2014/main" id="{10FBCB18-432E-6447-D0DF-A685A45E862C}"/>
              </a:ext>
            </a:extLst>
          </p:cNvPr>
          <p:cNvSpPr/>
          <p:nvPr userDrawn="1"/>
        </p:nvSpPr>
        <p:spPr>
          <a:xfrm>
            <a:off x="-1757918" y="2858659"/>
            <a:ext cx="623775" cy="623775"/>
          </a:xfrm>
          <a:prstGeom prst="rect">
            <a:avLst/>
          </a:prstGeom>
          <a:solidFill>
            <a:srgbClr val="74B1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16</a:t>
            </a:r>
          </a:p>
          <a:p>
            <a:pPr algn="ctr"/>
            <a:r>
              <a:rPr lang="en-US" sz="1050"/>
              <a:t>177</a:t>
            </a:r>
          </a:p>
          <a:p>
            <a:pPr algn="ctr"/>
            <a:r>
              <a:rPr lang="en-US" sz="1050"/>
              <a:t>231</a:t>
            </a:r>
          </a:p>
        </p:txBody>
      </p:sp>
      <p:sp>
        <p:nvSpPr>
          <p:cNvPr id="31" name="TextBox 30">
            <a:extLst>
              <a:ext uri="{FF2B5EF4-FFF2-40B4-BE49-F238E27FC236}">
                <a16:creationId xmlns:a16="http://schemas.microsoft.com/office/drawing/2014/main" id="{9E1036D1-AFFE-5FD0-7969-CB77700AAA22}"/>
              </a:ext>
            </a:extLst>
          </p:cNvPr>
          <p:cNvSpPr txBox="1"/>
          <p:nvPr userDrawn="1"/>
        </p:nvSpPr>
        <p:spPr>
          <a:xfrm>
            <a:off x="-989556" y="3530206"/>
            <a:ext cx="840540" cy="253916"/>
          </a:xfrm>
          <a:prstGeom prst="rect">
            <a:avLst/>
          </a:prstGeom>
          <a:noFill/>
        </p:spPr>
        <p:txBody>
          <a:bodyPr wrap="square" rtlCol="0">
            <a:spAutoFit/>
          </a:bodyPr>
          <a:lstStyle/>
          <a:p>
            <a:pPr algn="ctr"/>
            <a:r>
              <a:rPr lang="en-US" sz="1050"/>
              <a:t>Accent 2</a:t>
            </a:r>
            <a:endParaRPr lang="en-CA" sz="1050"/>
          </a:p>
        </p:txBody>
      </p:sp>
      <p:sp>
        <p:nvSpPr>
          <p:cNvPr id="32" name="Rectangle 31">
            <a:extLst>
              <a:ext uri="{FF2B5EF4-FFF2-40B4-BE49-F238E27FC236}">
                <a16:creationId xmlns:a16="http://schemas.microsoft.com/office/drawing/2014/main" id="{88B76CD8-7FE4-058C-6212-5BC94606E49D}"/>
              </a:ext>
            </a:extLst>
          </p:cNvPr>
          <p:cNvSpPr/>
          <p:nvPr userDrawn="1"/>
        </p:nvSpPr>
        <p:spPr>
          <a:xfrm>
            <a:off x="-881171" y="2858659"/>
            <a:ext cx="623775" cy="623775"/>
          </a:xfrm>
          <a:prstGeom prst="rect">
            <a:avLst/>
          </a:prstGeom>
          <a:solidFill>
            <a:srgbClr val="DDD9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221</a:t>
            </a:r>
          </a:p>
          <a:p>
            <a:pPr algn="ctr"/>
            <a:r>
              <a:rPr lang="en-US" sz="1050"/>
              <a:t>217</a:t>
            </a:r>
          </a:p>
          <a:p>
            <a:pPr algn="ctr"/>
            <a:r>
              <a:rPr lang="en-US" sz="1050"/>
              <a:t>195</a:t>
            </a:r>
          </a:p>
        </p:txBody>
      </p:sp>
      <p:sp>
        <p:nvSpPr>
          <p:cNvPr id="33" name="TextBox 32">
            <a:extLst>
              <a:ext uri="{FF2B5EF4-FFF2-40B4-BE49-F238E27FC236}">
                <a16:creationId xmlns:a16="http://schemas.microsoft.com/office/drawing/2014/main" id="{A3D5112E-70E4-8B13-A206-1E9D20426DF9}"/>
              </a:ext>
            </a:extLst>
          </p:cNvPr>
          <p:cNvSpPr txBox="1"/>
          <p:nvPr userDrawn="1"/>
        </p:nvSpPr>
        <p:spPr>
          <a:xfrm>
            <a:off x="-1828093" y="4546297"/>
            <a:ext cx="764127" cy="253916"/>
          </a:xfrm>
          <a:prstGeom prst="rect">
            <a:avLst/>
          </a:prstGeom>
          <a:noFill/>
        </p:spPr>
        <p:txBody>
          <a:bodyPr wrap="square" rtlCol="0">
            <a:spAutoFit/>
          </a:bodyPr>
          <a:lstStyle/>
          <a:p>
            <a:pPr algn="ctr"/>
            <a:r>
              <a:rPr lang="en-US" sz="1050"/>
              <a:t>Accent 3</a:t>
            </a:r>
            <a:endParaRPr lang="en-CA" sz="1050"/>
          </a:p>
        </p:txBody>
      </p:sp>
      <p:sp>
        <p:nvSpPr>
          <p:cNvPr id="34" name="Rectangle 33">
            <a:extLst>
              <a:ext uri="{FF2B5EF4-FFF2-40B4-BE49-F238E27FC236}">
                <a16:creationId xmlns:a16="http://schemas.microsoft.com/office/drawing/2014/main" id="{D998FE6F-7093-107D-AFC0-A9052EBF2A19}"/>
              </a:ext>
            </a:extLst>
          </p:cNvPr>
          <p:cNvSpPr/>
          <p:nvPr userDrawn="1"/>
        </p:nvSpPr>
        <p:spPr>
          <a:xfrm>
            <a:off x="-1757918" y="3874750"/>
            <a:ext cx="623775" cy="623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8</a:t>
            </a:r>
          </a:p>
          <a:p>
            <a:pPr algn="ctr"/>
            <a:r>
              <a:rPr lang="en-US" sz="1050"/>
              <a:t>26</a:t>
            </a:r>
          </a:p>
          <a:p>
            <a:pPr algn="ctr"/>
            <a:r>
              <a:rPr lang="en-US" sz="1050"/>
              <a:t>44</a:t>
            </a:r>
          </a:p>
        </p:txBody>
      </p:sp>
      <p:sp>
        <p:nvSpPr>
          <p:cNvPr id="35" name="TextBox 34">
            <a:extLst>
              <a:ext uri="{FF2B5EF4-FFF2-40B4-BE49-F238E27FC236}">
                <a16:creationId xmlns:a16="http://schemas.microsoft.com/office/drawing/2014/main" id="{15B44773-9FF7-8443-845B-14EC81EC1A1D}"/>
              </a:ext>
            </a:extLst>
          </p:cNvPr>
          <p:cNvSpPr txBox="1"/>
          <p:nvPr userDrawn="1"/>
        </p:nvSpPr>
        <p:spPr>
          <a:xfrm>
            <a:off x="-989556" y="4546297"/>
            <a:ext cx="840540" cy="253916"/>
          </a:xfrm>
          <a:prstGeom prst="rect">
            <a:avLst/>
          </a:prstGeom>
          <a:noFill/>
        </p:spPr>
        <p:txBody>
          <a:bodyPr wrap="square" rtlCol="0">
            <a:spAutoFit/>
          </a:bodyPr>
          <a:lstStyle/>
          <a:p>
            <a:pPr algn="ctr"/>
            <a:r>
              <a:rPr lang="en-US" sz="1050"/>
              <a:t>Accent 4</a:t>
            </a:r>
            <a:endParaRPr lang="en-CA" sz="1050"/>
          </a:p>
        </p:txBody>
      </p:sp>
      <p:sp>
        <p:nvSpPr>
          <p:cNvPr id="36" name="Rectangle 35">
            <a:extLst>
              <a:ext uri="{FF2B5EF4-FFF2-40B4-BE49-F238E27FC236}">
                <a16:creationId xmlns:a16="http://schemas.microsoft.com/office/drawing/2014/main" id="{CD384A26-DAD0-C2F5-6F6D-1E99E089B400}"/>
              </a:ext>
            </a:extLst>
          </p:cNvPr>
          <p:cNvSpPr/>
          <p:nvPr userDrawn="1"/>
        </p:nvSpPr>
        <p:spPr>
          <a:xfrm>
            <a:off x="-881171" y="3874750"/>
            <a:ext cx="623775" cy="62377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221</a:t>
            </a:r>
          </a:p>
          <a:p>
            <a:pPr algn="ctr"/>
            <a:r>
              <a:rPr lang="en-US" sz="1050"/>
              <a:t>221</a:t>
            </a:r>
          </a:p>
          <a:p>
            <a:pPr algn="ctr"/>
            <a:r>
              <a:rPr lang="en-US" sz="1050"/>
              <a:t>221</a:t>
            </a:r>
          </a:p>
        </p:txBody>
      </p:sp>
      <p:pic>
        <p:nvPicPr>
          <p:cNvPr id="5" name="Picture 4" descr="A picture containing text, clipart&#10;&#10;Description automatically generated">
            <a:extLst>
              <a:ext uri="{FF2B5EF4-FFF2-40B4-BE49-F238E27FC236}">
                <a16:creationId xmlns:a16="http://schemas.microsoft.com/office/drawing/2014/main" id="{A39148CD-CDE5-CD71-E05F-D413E892AC49}"/>
              </a:ext>
            </a:extLst>
          </p:cNvPr>
          <p:cNvPicPr>
            <a:picLocks noChangeAspect="1"/>
          </p:cNvPicPr>
          <p:nvPr userDrawn="1"/>
        </p:nvPicPr>
        <p:blipFill>
          <a:blip r:embed="rId4" cstate="print">
            <a:lum/>
            <a:extLst>
              <a:ext uri="{28A0092B-C50C-407E-A947-70E740481C1C}">
                <a14:useLocalDpi xmlns:a14="http://schemas.microsoft.com/office/drawing/2010/main" val="0"/>
              </a:ext>
            </a:extLst>
          </a:blip>
          <a:stretch>
            <a:fillRect/>
          </a:stretch>
        </p:blipFill>
        <p:spPr>
          <a:xfrm>
            <a:off x="8535161" y="191262"/>
            <a:ext cx="358014" cy="358014"/>
          </a:xfrm>
          <a:prstGeom prst="rect">
            <a:avLst/>
          </a:prstGeom>
          <a:solidFill>
            <a:srgbClr val="0F3557">
              <a:alpha val="0"/>
            </a:srgbClr>
          </a:solidFill>
        </p:spPr>
      </p:pic>
      <p:sp>
        <p:nvSpPr>
          <p:cNvPr id="16" name="Rectangle 15">
            <a:extLst>
              <a:ext uri="{FF2B5EF4-FFF2-40B4-BE49-F238E27FC236}">
                <a16:creationId xmlns:a16="http://schemas.microsoft.com/office/drawing/2014/main" id="{DE43BD0D-B9C9-2DD7-9533-304F10702F23}"/>
              </a:ext>
            </a:extLst>
          </p:cNvPr>
          <p:cNvSpPr/>
          <p:nvPr userDrawn="1"/>
        </p:nvSpPr>
        <p:spPr>
          <a:xfrm>
            <a:off x="9264505" y="-1"/>
            <a:ext cx="1842977" cy="5341121"/>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900" b="1">
                <a:solidFill>
                  <a:schemeClr val="tx1"/>
                </a:solidFill>
                <a:latin typeface="+mj-lt"/>
              </a:rPr>
              <a:t>Font: Arial</a:t>
            </a:r>
          </a:p>
          <a:p>
            <a:pPr marL="171450" indent="-171450" algn="l">
              <a:buClr>
                <a:schemeClr val="accent1"/>
              </a:buClr>
              <a:buFont typeface="Wingdings" panose="05000000000000000000" pitchFamily="2" charset="2"/>
              <a:buChar char="§"/>
            </a:pPr>
            <a:r>
              <a:rPr lang="en-US" sz="900">
                <a:solidFill>
                  <a:schemeClr val="tx1"/>
                </a:solidFill>
                <a:latin typeface="+mj-lt"/>
              </a:rPr>
              <a:t>Title: 20</a:t>
            </a:r>
          </a:p>
          <a:p>
            <a:pPr marL="171450" indent="-171450" algn="l">
              <a:buClr>
                <a:schemeClr val="accent1"/>
              </a:buClr>
              <a:buFont typeface="Wingdings" panose="05000000000000000000" pitchFamily="2" charset="2"/>
              <a:buChar char="§"/>
            </a:pPr>
            <a:r>
              <a:rPr lang="en-US" sz="900">
                <a:solidFill>
                  <a:schemeClr val="tx1"/>
                </a:solidFill>
                <a:latin typeface="+mj-lt"/>
              </a:rPr>
              <a:t>Subtitle: 14</a:t>
            </a:r>
          </a:p>
          <a:p>
            <a:pPr marL="171450" indent="-171450" algn="l">
              <a:buClr>
                <a:schemeClr val="accent1"/>
              </a:buClr>
              <a:buFont typeface="Wingdings" panose="05000000000000000000" pitchFamily="2" charset="2"/>
              <a:buChar char="§"/>
            </a:pPr>
            <a:r>
              <a:rPr lang="en-US" sz="900">
                <a:solidFill>
                  <a:schemeClr val="tx1"/>
                </a:solidFill>
                <a:latin typeface="+mj-lt"/>
              </a:rPr>
              <a:t>Content Headings: 12</a:t>
            </a:r>
          </a:p>
          <a:p>
            <a:pPr marL="171450" indent="-171450" algn="l">
              <a:buClr>
                <a:schemeClr val="accent1"/>
              </a:buClr>
              <a:buFont typeface="Wingdings" panose="05000000000000000000" pitchFamily="2" charset="2"/>
              <a:buChar char="§"/>
            </a:pPr>
            <a:r>
              <a:rPr lang="en-US" sz="900">
                <a:solidFill>
                  <a:schemeClr val="tx1"/>
                </a:solidFill>
                <a:latin typeface="+mj-lt"/>
              </a:rPr>
              <a:t>General: 9</a:t>
            </a:r>
          </a:p>
          <a:p>
            <a:pPr marL="171450" indent="-171450" algn="l">
              <a:buClr>
                <a:schemeClr val="accent1"/>
              </a:buClr>
              <a:buFont typeface="Wingdings" panose="05000000000000000000" pitchFamily="2" charset="2"/>
              <a:buChar char="§"/>
            </a:pPr>
            <a:r>
              <a:rPr lang="en-US" sz="900">
                <a:solidFill>
                  <a:schemeClr val="tx1"/>
                </a:solidFill>
                <a:latin typeface="+mj-lt"/>
              </a:rPr>
              <a:t>Graphs: 9</a:t>
            </a:r>
          </a:p>
          <a:p>
            <a:pPr algn="l"/>
            <a:endParaRPr lang="en-US" sz="900" b="1">
              <a:solidFill>
                <a:schemeClr val="tx1"/>
              </a:solidFill>
              <a:latin typeface="+mj-lt"/>
            </a:endParaRPr>
          </a:p>
          <a:p>
            <a:pPr algn="l"/>
            <a:r>
              <a:rPr lang="en-US" sz="900" b="1">
                <a:solidFill>
                  <a:schemeClr val="tx1"/>
                </a:solidFill>
                <a:latin typeface="+mj-lt"/>
              </a:rPr>
              <a:t>Dollar Notation</a:t>
            </a:r>
          </a:p>
          <a:p>
            <a:pPr marL="171450" indent="-171450" algn="l">
              <a:buClr>
                <a:schemeClr val="accent1"/>
              </a:buClr>
              <a:buFont typeface="Wingdings" panose="05000000000000000000" pitchFamily="2" charset="2"/>
              <a:buChar char="§"/>
            </a:pPr>
            <a:r>
              <a:rPr lang="en-US" sz="900">
                <a:solidFill>
                  <a:schemeClr val="tx1"/>
                </a:solidFill>
                <a:latin typeface="+mj-lt"/>
              </a:rPr>
              <a:t>General - $#mm and $#bn</a:t>
            </a:r>
          </a:p>
          <a:p>
            <a:pPr marL="171450" indent="-171450" algn="l">
              <a:buClr>
                <a:schemeClr val="accent1"/>
              </a:buClr>
              <a:buFont typeface="Wingdings" panose="05000000000000000000" pitchFamily="2" charset="2"/>
              <a:buChar char="§"/>
            </a:pPr>
            <a:r>
              <a:rPr lang="en-US" sz="900">
                <a:solidFill>
                  <a:schemeClr val="tx1"/>
                </a:solidFill>
                <a:latin typeface="+mj-lt"/>
              </a:rPr>
              <a:t>Currency - US$## and C$##</a:t>
            </a:r>
          </a:p>
          <a:p>
            <a:pPr marL="171450" indent="-171450" algn="l">
              <a:buClr>
                <a:schemeClr val="accent1"/>
              </a:buClr>
              <a:buFont typeface="Wingdings" panose="05000000000000000000" pitchFamily="2" charset="2"/>
              <a:buChar char="§"/>
            </a:pPr>
            <a:r>
              <a:rPr lang="en-US" sz="900">
                <a:solidFill>
                  <a:schemeClr val="tx1"/>
                </a:solidFill>
                <a:latin typeface="+mj-lt"/>
              </a:rPr>
              <a:t>Ranges - $#-#mm (and bn)</a:t>
            </a:r>
          </a:p>
          <a:p>
            <a:pPr marL="171450" indent="-171450" algn="l">
              <a:buClr>
                <a:schemeClr val="accent1"/>
              </a:buClr>
              <a:buFont typeface="Wingdings" panose="05000000000000000000" pitchFamily="2" charset="2"/>
              <a:buChar char="§"/>
            </a:pPr>
            <a:r>
              <a:rPr lang="en-US" sz="900">
                <a:solidFill>
                  <a:schemeClr val="tx1"/>
                </a:solidFill>
                <a:latin typeface="+mj-lt"/>
              </a:rPr>
              <a:t>1 decimal place, 2 for per share</a:t>
            </a:r>
          </a:p>
          <a:p>
            <a:pPr marL="171450" indent="-171450" algn="l">
              <a:buClr>
                <a:schemeClr val="accent1"/>
              </a:buClr>
              <a:buFont typeface="Wingdings" panose="05000000000000000000" pitchFamily="2" charset="2"/>
              <a:buChar char="§"/>
            </a:pPr>
            <a:r>
              <a:rPr lang="en-US" sz="900">
                <a:solidFill>
                  <a:schemeClr val="tx1"/>
                </a:solidFill>
                <a:latin typeface="+mj-lt"/>
              </a:rPr>
              <a:t>General - #,##0.0;(#,##0.0);-</a:t>
            </a:r>
          </a:p>
          <a:p>
            <a:pPr marL="171450" indent="-171450" algn="l">
              <a:buClr>
                <a:schemeClr val="accent1"/>
              </a:buClr>
              <a:buFont typeface="Wingdings" panose="05000000000000000000" pitchFamily="2" charset="2"/>
              <a:buChar char="§"/>
            </a:pPr>
            <a:endParaRPr lang="en-US" sz="900">
              <a:solidFill>
                <a:schemeClr val="tx1"/>
              </a:solidFill>
              <a:latin typeface="+mj-lt"/>
            </a:endParaRPr>
          </a:p>
          <a:p>
            <a:pPr marL="0" indent="0" algn="l">
              <a:buClr>
                <a:schemeClr val="accent1"/>
              </a:buClr>
              <a:buFont typeface="Wingdings" panose="05000000000000000000" pitchFamily="2" charset="2"/>
              <a:buNone/>
            </a:pPr>
            <a:r>
              <a:rPr lang="en-US" sz="900" b="1">
                <a:solidFill>
                  <a:schemeClr val="tx1"/>
                </a:solidFill>
                <a:latin typeface="+mj-lt"/>
              </a:rPr>
              <a:t>Sources and Footnote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Mark footnote with </a:t>
            </a:r>
            <a:r>
              <a:rPr lang="en-US" sz="900" i="1" baseline="30000">
                <a:solidFill>
                  <a:schemeClr val="tx1"/>
                </a:solidFill>
                <a:latin typeface="+mj-lt"/>
              </a:rPr>
              <a:t>(#) </a:t>
            </a:r>
            <a:r>
              <a:rPr lang="en-US" sz="900" i="0" baseline="0">
                <a:solidFill>
                  <a:schemeClr val="tx1"/>
                </a:solidFill>
                <a:latin typeface="+mj-lt"/>
              </a:rPr>
              <a:t>in your tex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i="0" baseline="0">
                <a:solidFill>
                  <a:schemeClr val="tx1"/>
                </a:solidFill>
                <a:latin typeface="+mj-lt"/>
              </a:rPr>
              <a:t>Begin footnote with (#) in the footer and “Sources:” (even if there is only one source)</a:t>
            </a:r>
            <a:endParaRPr lang="en-US" sz="900" i="0" baseline="300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lways pt 7 font siz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Capitalized Cas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and” between 2</a:t>
            </a:r>
            <a:r>
              <a:rPr lang="en-US" sz="900" baseline="30000">
                <a:solidFill>
                  <a:schemeClr val="tx1"/>
                </a:solidFill>
                <a:latin typeface="+mj-lt"/>
              </a:rPr>
              <a:t>nd</a:t>
            </a:r>
            <a:r>
              <a:rPr lang="en-US" sz="900">
                <a:solidFill>
                  <a:schemeClr val="tx1"/>
                </a:solidFill>
                <a:latin typeface="+mj-lt"/>
              </a:rPr>
              <a:t> last and last sourc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i.e. (1) Sources: Bloomberg</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900" b="1">
                <a:solidFill>
                  <a:schemeClr val="tx1"/>
                </a:solidFill>
                <a:latin typeface="+mj-lt"/>
              </a:rPr>
              <a:t>Charts and Graph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nt size 9 and Arial 9 (black fon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llow number notations abov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Use TFSIG </a:t>
            </a:r>
            <a:r>
              <a:rPr lang="en-US" sz="900" err="1">
                <a:solidFill>
                  <a:schemeClr val="tx1"/>
                </a:solidFill>
                <a:latin typeface="+mj-lt"/>
              </a:rPr>
              <a:t>colours</a:t>
            </a: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lines – Black</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tick marks – major and outsid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horizontal or vertical lines (default grey ones)</a:t>
            </a:r>
          </a:p>
        </p:txBody>
      </p:sp>
      <p:sp>
        <p:nvSpPr>
          <p:cNvPr id="24" name="TextBox 23">
            <a:extLst>
              <a:ext uri="{FF2B5EF4-FFF2-40B4-BE49-F238E27FC236}">
                <a16:creationId xmlns:a16="http://schemas.microsoft.com/office/drawing/2014/main" id="{C2F175E6-1623-36BA-3BD3-A4F99E3E3EC8}"/>
              </a:ext>
            </a:extLst>
          </p:cNvPr>
          <p:cNvSpPr txBox="1"/>
          <p:nvPr userDrawn="1"/>
        </p:nvSpPr>
        <p:spPr>
          <a:xfrm>
            <a:off x="6893568" y="253830"/>
            <a:ext cx="1641595" cy="230832"/>
          </a:xfrm>
          <a:prstGeom prst="rect">
            <a:avLst/>
          </a:prstGeom>
          <a:noFill/>
        </p:spPr>
        <p:txBody>
          <a:bodyPr wrap="square" rtlCol="0" anchor="ctr">
            <a:spAutoFit/>
          </a:bodyPr>
          <a:lstStyle/>
          <a:p>
            <a:pPr algn="r"/>
            <a:r>
              <a:rPr lang="en-US" sz="900">
                <a:solidFill>
                  <a:schemeClr val="bg2"/>
                </a:solidFill>
              </a:rPr>
              <a:t>TFS INVESTMENT GROUP</a:t>
            </a:r>
          </a:p>
        </p:txBody>
      </p:sp>
      <p:sp>
        <p:nvSpPr>
          <p:cNvPr id="11" name="TextBox 10">
            <a:extLst>
              <a:ext uri="{FF2B5EF4-FFF2-40B4-BE49-F238E27FC236}">
                <a16:creationId xmlns:a16="http://schemas.microsoft.com/office/drawing/2014/main" id="{757AA354-89A9-6D06-4BF1-C46776D99BEB}"/>
              </a:ext>
            </a:extLst>
          </p:cNvPr>
          <p:cNvSpPr txBox="1"/>
          <p:nvPr userDrawn="1"/>
        </p:nvSpPr>
        <p:spPr>
          <a:xfrm>
            <a:off x="6473447" y="6450569"/>
            <a:ext cx="2061714" cy="230832"/>
          </a:xfrm>
          <a:prstGeom prst="rect">
            <a:avLst/>
          </a:prstGeom>
          <a:noFill/>
        </p:spPr>
        <p:txBody>
          <a:bodyPr wrap="square" rtlCol="0">
            <a:spAutoFit/>
          </a:bodyPr>
          <a:lstStyle/>
          <a:p>
            <a:pPr algn="r"/>
            <a:r>
              <a:rPr lang="en-US" sz="900">
                <a:latin typeface="+mj-lt"/>
              </a:rPr>
              <a:t>PRELIMINARY &amp; CONFIDENTIAL</a:t>
            </a:r>
            <a:endParaRPr lang="en-CA" sz="900">
              <a:latin typeface="+mj-lt"/>
            </a:endParaRPr>
          </a:p>
        </p:txBody>
      </p:sp>
    </p:spTree>
    <p:extLst>
      <p:ext uri="{BB962C8B-B14F-4D97-AF65-F5344CB8AC3E}">
        <p14:creationId xmlns:p14="http://schemas.microsoft.com/office/powerpoint/2010/main" val="108896749"/>
      </p:ext>
    </p:extLst>
  </p:cSld>
  <p:clrMap bg1="lt1" tx1="dk1" bg2="lt2" tx2="dk2" accent1="accent1" accent2="accent2" accent3="accent3" accent4="accent4" accent5="accent5" accent6="accent6" hlink="hlink" folHlink="folHlink"/>
  <p:sldLayoutIdLst>
    <p:sldLayoutId id="2147483703" r:id="rId1"/>
    <p:sldLayoutId id="2147483697" r:id="rId2"/>
  </p:sldLayoutIdLst>
  <p:txStyles>
    <p:titleStyle>
      <a:lvl1pPr algn="l" defTabSz="914400" rtl="0" eaLnBrk="1" latinLnBrk="0" hangingPunct="1">
        <a:lnSpc>
          <a:spcPct val="100000"/>
        </a:lnSpc>
        <a:spcBef>
          <a:spcPct val="0"/>
        </a:spcBef>
        <a:buNone/>
        <a:defRPr sz="2000" kern="1200">
          <a:solidFill>
            <a:schemeClr val="accent1"/>
          </a:solidFill>
          <a:latin typeface="+mj-lt"/>
          <a:ea typeface="+mj-ea"/>
          <a:cs typeface="Goldman Sans Bold" panose="020B0803020203020204" pitchFamily="34" charset="0"/>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Master Tit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8" name="Date Placeholder 7">
            <a:extLst>
              <a:ext uri="{FF2B5EF4-FFF2-40B4-BE49-F238E27FC236}">
                <a16:creationId xmlns:a16="http://schemas.microsoft.com/office/drawing/2014/main" id="{D812E4C5-967F-4468-9D64-7C21F0F98D40}"/>
              </a:ext>
            </a:extLst>
          </p:cNvPr>
          <p:cNvSpPr>
            <a:spLocks noGrp="1"/>
          </p:cNvSpPr>
          <p:nvPr>
            <p:ph type="dt" sz="half" idx="2"/>
          </p:nvPr>
        </p:nvSpPr>
        <p:spPr>
          <a:xfrm>
            <a:off x="628650" y="6356358"/>
            <a:ext cx="20574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368A9EC3-EB35-4F5D-A481-D043DD8BAC84}" type="datetimeFigureOut">
              <a:rPr lang="en-US" smtClean="0"/>
              <a:pPr/>
              <a:t>12/2/2024</a:t>
            </a:fld>
            <a:endParaRPr lang="en-US"/>
          </a:p>
        </p:txBody>
      </p:sp>
      <p:sp>
        <p:nvSpPr>
          <p:cNvPr id="9" name="Footer Placeholder 8">
            <a:extLst>
              <a:ext uri="{FF2B5EF4-FFF2-40B4-BE49-F238E27FC236}">
                <a16:creationId xmlns:a16="http://schemas.microsoft.com/office/drawing/2014/main" id="{CC3C1695-E68D-41C7-86C7-181E28280176}"/>
              </a:ext>
            </a:extLst>
          </p:cNvPr>
          <p:cNvSpPr>
            <a:spLocks noGrp="1"/>
          </p:cNvSpPr>
          <p:nvPr>
            <p:ph type="ftr" sz="quarter" idx="3"/>
          </p:nvPr>
        </p:nvSpPr>
        <p:spPr>
          <a:xfrm>
            <a:off x="3028950" y="6356358"/>
            <a:ext cx="30861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endParaRPr lang="en-US"/>
          </a:p>
        </p:txBody>
      </p:sp>
      <p:sp>
        <p:nvSpPr>
          <p:cNvPr id="10" name="Slide Number Placeholder 9">
            <a:extLst>
              <a:ext uri="{FF2B5EF4-FFF2-40B4-BE49-F238E27FC236}">
                <a16:creationId xmlns:a16="http://schemas.microsoft.com/office/drawing/2014/main" id="{5C547560-5BA1-421D-911E-18D76B3441D6}"/>
              </a:ext>
            </a:extLst>
          </p:cNvPr>
          <p:cNvSpPr>
            <a:spLocks noGrp="1"/>
          </p:cNvSpPr>
          <p:nvPr>
            <p:ph type="sldNum" sz="quarter" idx="4"/>
          </p:nvPr>
        </p:nvSpPr>
        <p:spPr>
          <a:xfrm>
            <a:off x="6457950" y="6356358"/>
            <a:ext cx="20574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Goldman Sans Thin" panose="020B0303020203020204" pitchFamily="34" charset="0"/>
              </a:defRPr>
            </a:lvl1pPr>
          </a:lstStyle>
          <a:p>
            <a:fld id="{1B80B332-6B81-4811-A13B-2B89943A5333}" type="slidenum">
              <a:rPr lang="en-US" smtClean="0"/>
              <a:pPr/>
              <a:t>‹#›</a:t>
            </a:fld>
            <a:endParaRPr lang="en-US"/>
          </a:p>
        </p:txBody>
      </p:sp>
      <p:sp>
        <p:nvSpPr>
          <p:cNvPr id="4" name="Rectangle 3">
            <a:extLst>
              <a:ext uri="{FF2B5EF4-FFF2-40B4-BE49-F238E27FC236}">
                <a16:creationId xmlns:a16="http://schemas.microsoft.com/office/drawing/2014/main" id="{A3E98B7F-4DAA-1283-5D39-68D4AEAFC324}"/>
              </a:ext>
            </a:extLst>
          </p:cNvPr>
          <p:cNvSpPr/>
          <p:nvPr userDrawn="1"/>
        </p:nvSpPr>
        <p:spPr>
          <a:xfrm>
            <a:off x="-1963479" y="0"/>
            <a:ext cx="1842977" cy="5341120"/>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900">
              <a:solidFill>
                <a:schemeClr val="tx1"/>
              </a:solidFill>
              <a:latin typeface="+mj-lt"/>
            </a:endParaRPr>
          </a:p>
        </p:txBody>
      </p:sp>
      <p:graphicFrame>
        <p:nvGraphicFramePr>
          <p:cNvPr id="6" name="Table 8">
            <a:extLst>
              <a:ext uri="{FF2B5EF4-FFF2-40B4-BE49-F238E27FC236}">
                <a16:creationId xmlns:a16="http://schemas.microsoft.com/office/drawing/2014/main" id="{AC2C8BEE-05CE-E164-CC60-9DCF360E0523}"/>
              </a:ext>
            </a:extLst>
          </p:cNvPr>
          <p:cNvGraphicFramePr>
            <a:graphicFrameLocks/>
          </p:cNvGraphicFramePr>
          <p:nvPr userDrawn="1"/>
        </p:nvGraphicFramePr>
        <p:xfrm>
          <a:off x="-1757915" y="141441"/>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a:solidFill>
                            <a:schemeClr val="tx2"/>
                          </a:solidFill>
                          <a:latin typeface="+mj-lt"/>
                        </a:rPr>
                        <a:t>Font </a:t>
                      </a:r>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Rectangle 6">
            <a:extLst>
              <a:ext uri="{FF2B5EF4-FFF2-40B4-BE49-F238E27FC236}">
                <a16:creationId xmlns:a16="http://schemas.microsoft.com/office/drawing/2014/main" id="{35AEC9A5-A30E-99DB-F0F9-CC2A83CEBFB0}"/>
              </a:ext>
            </a:extLst>
          </p:cNvPr>
          <p:cNvSpPr/>
          <p:nvPr userDrawn="1"/>
        </p:nvSpPr>
        <p:spPr>
          <a:xfrm>
            <a:off x="-1757915" y="484666"/>
            <a:ext cx="623775" cy="623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0</a:t>
            </a:r>
          </a:p>
          <a:p>
            <a:pPr algn="ctr"/>
            <a:r>
              <a:rPr lang="en-US" sz="1051"/>
              <a:t>0</a:t>
            </a:r>
          </a:p>
          <a:p>
            <a:pPr algn="ctr"/>
            <a:r>
              <a:rPr lang="en-US" sz="1051"/>
              <a:t>0</a:t>
            </a:r>
          </a:p>
        </p:txBody>
      </p:sp>
      <p:sp>
        <p:nvSpPr>
          <p:cNvPr id="12" name="TextBox 11">
            <a:extLst>
              <a:ext uri="{FF2B5EF4-FFF2-40B4-BE49-F238E27FC236}">
                <a16:creationId xmlns:a16="http://schemas.microsoft.com/office/drawing/2014/main" id="{44718FC3-D108-23F3-F8EC-696452B21295}"/>
              </a:ext>
            </a:extLst>
          </p:cNvPr>
          <p:cNvSpPr txBox="1"/>
          <p:nvPr userDrawn="1"/>
        </p:nvSpPr>
        <p:spPr>
          <a:xfrm>
            <a:off x="-1793358" y="1156214"/>
            <a:ext cx="694661" cy="254044"/>
          </a:xfrm>
          <a:prstGeom prst="rect">
            <a:avLst/>
          </a:prstGeom>
          <a:noFill/>
        </p:spPr>
        <p:txBody>
          <a:bodyPr wrap="square" rtlCol="0">
            <a:spAutoFit/>
          </a:bodyPr>
          <a:lstStyle/>
          <a:p>
            <a:pPr algn="ctr"/>
            <a:r>
              <a:rPr lang="en-US" sz="1051"/>
              <a:t>General</a:t>
            </a:r>
            <a:endParaRPr lang="en-CA" sz="1051"/>
          </a:p>
        </p:txBody>
      </p:sp>
      <p:sp>
        <p:nvSpPr>
          <p:cNvPr id="13" name="Rectangle 12">
            <a:extLst>
              <a:ext uri="{FF2B5EF4-FFF2-40B4-BE49-F238E27FC236}">
                <a16:creationId xmlns:a16="http://schemas.microsoft.com/office/drawing/2014/main" id="{D14F1B15-4C5A-BD8F-A30A-BD19EEDF4B53}"/>
              </a:ext>
            </a:extLst>
          </p:cNvPr>
          <p:cNvSpPr/>
          <p:nvPr userDrawn="1"/>
        </p:nvSpPr>
        <p:spPr>
          <a:xfrm>
            <a:off x="-881171" y="484666"/>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15</a:t>
            </a:r>
          </a:p>
          <a:p>
            <a:pPr algn="ctr"/>
            <a:r>
              <a:rPr lang="en-US" sz="1051"/>
              <a:t>53</a:t>
            </a:r>
          </a:p>
          <a:p>
            <a:pPr algn="ctr"/>
            <a:r>
              <a:rPr lang="en-US" sz="1051"/>
              <a:t>87</a:t>
            </a:r>
          </a:p>
        </p:txBody>
      </p:sp>
      <p:sp>
        <p:nvSpPr>
          <p:cNvPr id="14" name="TextBox 13">
            <a:extLst>
              <a:ext uri="{FF2B5EF4-FFF2-40B4-BE49-F238E27FC236}">
                <a16:creationId xmlns:a16="http://schemas.microsoft.com/office/drawing/2014/main" id="{50A98D96-C95C-34D5-0119-DA7D722BF98C}"/>
              </a:ext>
            </a:extLst>
          </p:cNvPr>
          <p:cNvSpPr txBox="1"/>
          <p:nvPr userDrawn="1"/>
        </p:nvSpPr>
        <p:spPr>
          <a:xfrm>
            <a:off x="-916614" y="1156214"/>
            <a:ext cx="694661" cy="254044"/>
          </a:xfrm>
          <a:prstGeom prst="rect">
            <a:avLst/>
          </a:prstGeom>
          <a:noFill/>
        </p:spPr>
        <p:txBody>
          <a:bodyPr wrap="square" rtlCol="0">
            <a:spAutoFit/>
          </a:bodyPr>
          <a:lstStyle/>
          <a:p>
            <a:pPr algn="ctr"/>
            <a:r>
              <a:rPr lang="en-US" sz="1051" err="1"/>
              <a:t>Colour</a:t>
            </a:r>
            <a:endParaRPr lang="en-CA" sz="1051"/>
          </a:p>
        </p:txBody>
      </p:sp>
      <p:graphicFrame>
        <p:nvGraphicFramePr>
          <p:cNvPr id="15" name="Table 8">
            <a:extLst>
              <a:ext uri="{FF2B5EF4-FFF2-40B4-BE49-F238E27FC236}">
                <a16:creationId xmlns:a16="http://schemas.microsoft.com/office/drawing/2014/main" id="{670A8C97-741E-2B82-1217-8F2BC954A4DD}"/>
              </a:ext>
            </a:extLst>
          </p:cNvPr>
          <p:cNvGraphicFramePr>
            <a:graphicFrameLocks/>
          </p:cNvGraphicFramePr>
          <p:nvPr userDrawn="1"/>
        </p:nvGraphicFramePr>
        <p:xfrm>
          <a:off x="-1757915" y="1500662"/>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7" name="TextBox 16">
            <a:extLst>
              <a:ext uri="{FF2B5EF4-FFF2-40B4-BE49-F238E27FC236}">
                <a16:creationId xmlns:a16="http://schemas.microsoft.com/office/drawing/2014/main" id="{686F4546-CD9C-FAF7-D157-367198FCCFC5}"/>
              </a:ext>
            </a:extLst>
          </p:cNvPr>
          <p:cNvSpPr txBox="1"/>
          <p:nvPr userDrawn="1"/>
        </p:nvSpPr>
        <p:spPr>
          <a:xfrm>
            <a:off x="-1793358" y="2514207"/>
            <a:ext cx="694661" cy="254044"/>
          </a:xfrm>
          <a:prstGeom prst="rect">
            <a:avLst/>
          </a:prstGeom>
          <a:noFill/>
        </p:spPr>
        <p:txBody>
          <a:bodyPr wrap="square" rtlCol="0">
            <a:spAutoFit/>
          </a:bodyPr>
          <a:lstStyle/>
          <a:p>
            <a:pPr algn="ctr"/>
            <a:r>
              <a:rPr lang="en-US" sz="1051"/>
              <a:t>Primary</a:t>
            </a:r>
            <a:endParaRPr lang="en-CA" sz="1051"/>
          </a:p>
        </p:txBody>
      </p:sp>
      <p:sp>
        <p:nvSpPr>
          <p:cNvPr id="18" name="Rectangle 17">
            <a:extLst>
              <a:ext uri="{FF2B5EF4-FFF2-40B4-BE49-F238E27FC236}">
                <a16:creationId xmlns:a16="http://schemas.microsoft.com/office/drawing/2014/main" id="{5ED42EC4-8947-9721-80D1-EE1CA1F5A265}"/>
              </a:ext>
            </a:extLst>
          </p:cNvPr>
          <p:cNvSpPr/>
          <p:nvPr userDrawn="1"/>
        </p:nvSpPr>
        <p:spPr>
          <a:xfrm>
            <a:off x="-1757918" y="1842659"/>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15</a:t>
            </a:r>
          </a:p>
          <a:p>
            <a:pPr algn="ctr"/>
            <a:r>
              <a:rPr lang="en-US" sz="1051"/>
              <a:t>53</a:t>
            </a:r>
          </a:p>
          <a:p>
            <a:pPr algn="ctr"/>
            <a:r>
              <a:rPr lang="en-US" sz="1051"/>
              <a:t>87</a:t>
            </a:r>
          </a:p>
        </p:txBody>
      </p:sp>
      <p:sp>
        <p:nvSpPr>
          <p:cNvPr id="19" name="TextBox 18">
            <a:extLst>
              <a:ext uri="{FF2B5EF4-FFF2-40B4-BE49-F238E27FC236}">
                <a16:creationId xmlns:a16="http://schemas.microsoft.com/office/drawing/2014/main" id="{AED6A09F-12BA-D7F4-2ABC-B96450364D82}"/>
              </a:ext>
            </a:extLst>
          </p:cNvPr>
          <p:cNvSpPr txBox="1"/>
          <p:nvPr userDrawn="1"/>
        </p:nvSpPr>
        <p:spPr>
          <a:xfrm>
            <a:off x="-989556" y="2514207"/>
            <a:ext cx="840540" cy="254044"/>
          </a:xfrm>
          <a:prstGeom prst="rect">
            <a:avLst/>
          </a:prstGeom>
          <a:noFill/>
        </p:spPr>
        <p:txBody>
          <a:bodyPr wrap="square" rtlCol="0">
            <a:spAutoFit/>
          </a:bodyPr>
          <a:lstStyle/>
          <a:p>
            <a:pPr algn="ctr"/>
            <a:r>
              <a:rPr lang="en-US" sz="1051"/>
              <a:t>Secondary</a:t>
            </a:r>
            <a:endParaRPr lang="en-CA" sz="1051"/>
          </a:p>
        </p:txBody>
      </p:sp>
      <p:sp>
        <p:nvSpPr>
          <p:cNvPr id="20" name="Rectangle 19">
            <a:extLst>
              <a:ext uri="{FF2B5EF4-FFF2-40B4-BE49-F238E27FC236}">
                <a16:creationId xmlns:a16="http://schemas.microsoft.com/office/drawing/2014/main" id="{5EC362E1-6B32-9857-8DA7-1B92BF9B60D5}"/>
              </a:ext>
            </a:extLst>
          </p:cNvPr>
          <p:cNvSpPr/>
          <p:nvPr userDrawn="1"/>
        </p:nvSpPr>
        <p:spPr>
          <a:xfrm>
            <a:off x="-881171" y="1842659"/>
            <a:ext cx="623775" cy="623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46</a:t>
            </a:r>
          </a:p>
          <a:p>
            <a:pPr algn="ctr"/>
            <a:r>
              <a:rPr lang="en-US" sz="1051"/>
              <a:t>137</a:t>
            </a:r>
          </a:p>
          <a:p>
            <a:pPr algn="ctr"/>
            <a:r>
              <a:rPr lang="en-US" sz="1051"/>
              <a:t>219</a:t>
            </a:r>
          </a:p>
        </p:txBody>
      </p:sp>
      <p:sp>
        <p:nvSpPr>
          <p:cNvPr id="22" name="TextBox 21">
            <a:extLst>
              <a:ext uri="{FF2B5EF4-FFF2-40B4-BE49-F238E27FC236}">
                <a16:creationId xmlns:a16="http://schemas.microsoft.com/office/drawing/2014/main" id="{C4206984-2D8C-7BE3-8259-EE4E72C938F5}"/>
              </a:ext>
            </a:extLst>
          </p:cNvPr>
          <p:cNvSpPr txBox="1"/>
          <p:nvPr userDrawn="1"/>
        </p:nvSpPr>
        <p:spPr>
          <a:xfrm>
            <a:off x="-1828093" y="3530206"/>
            <a:ext cx="764127" cy="254044"/>
          </a:xfrm>
          <a:prstGeom prst="rect">
            <a:avLst/>
          </a:prstGeom>
          <a:noFill/>
        </p:spPr>
        <p:txBody>
          <a:bodyPr wrap="square" rtlCol="0">
            <a:spAutoFit/>
          </a:bodyPr>
          <a:lstStyle/>
          <a:p>
            <a:pPr algn="ctr"/>
            <a:r>
              <a:rPr lang="en-US" sz="1051"/>
              <a:t>Accent 1</a:t>
            </a:r>
            <a:endParaRPr lang="en-CA" sz="1051"/>
          </a:p>
        </p:txBody>
      </p:sp>
      <p:sp>
        <p:nvSpPr>
          <p:cNvPr id="28" name="Rectangle 27">
            <a:extLst>
              <a:ext uri="{FF2B5EF4-FFF2-40B4-BE49-F238E27FC236}">
                <a16:creationId xmlns:a16="http://schemas.microsoft.com/office/drawing/2014/main" id="{10FBCB18-432E-6447-D0DF-A685A45E862C}"/>
              </a:ext>
            </a:extLst>
          </p:cNvPr>
          <p:cNvSpPr/>
          <p:nvPr userDrawn="1"/>
        </p:nvSpPr>
        <p:spPr>
          <a:xfrm>
            <a:off x="-1757918" y="2858659"/>
            <a:ext cx="623775" cy="623775"/>
          </a:xfrm>
          <a:prstGeom prst="rect">
            <a:avLst/>
          </a:prstGeom>
          <a:solidFill>
            <a:srgbClr val="74B1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116</a:t>
            </a:r>
          </a:p>
          <a:p>
            <a:pPr algn="ctr"/>
            <a:r>
              <a:rPr lang="en-US" sz="1051"/>
              <a:t>177</a:t>
            </a:r>
          </a:p>
          <a:p>
            <a:pPr algn="ctr"/>
            <a:r>
              <a:rPr lang="en-US" sz="1051"/>
              <a:t>231</a:t>
            </a:r>
          </a:p>
        </p:txBody>
      </p:sp>
      <p:sp>
        <p:nvSpPr>
          <p:cNvPr id="31" name="TextBox 30">
            <a:extLst>
              <a:ext uri="{FF2B5EF4-FFF2-40B4-BE49-F238E27FC236}">
                <a16:creationId xmlns:a16="http://schemas.microsoft.com/office/drawing/2014/main" id="{9E1036D1-AFFE-5FD0-7969-CB77700AAA22}"/>
              </a:ext>
            </a:extLst>
          </p:cNvPr>
          <p:cNvSpPr txBox="1"/>
          <p:nvPr userDrawn="1"/>
        </p:nvSpPr>
        <p:spPr>
          <a:xfrm>
            <a:off x="-989556" y="3530206"/>
            <a:ext cx="840540" cy="254044"/>
          </a:xfrm>
          <a:prstGeom prst="rect">
            <a:avLst/>
          </a:prstGeom>
          <a:noFill/>
        </p:spPr>
        <p:txBody>
          <a:bodyPr wrap="square" rtlCol="0">
            <a:spAutoFit/>
          </a:bodyPr>
          <a:lstStyle/>
          <a:p>
            <a:pPr algn="ctr"/>
            <a:r>
              <a:rPr lang="en-US" sz="1051"/>
              <a:t>Accent 2</a:t>
            </a:r>
            <a:endParaRPr lang="en-CA" sz="1051"/>
          </a:p>
        </p:txBody>
      </p:sp>
      <p:sp>
        <p:nvSpPr>
          <p:cNvPr id="32" name="Rectangle 31">
            <a:extLst>
              <a:ext uri="{FF2B5EF4-FFF2-40B4-BE49-F238E27FC236}">
                <a16:creationId xmlns:a16="http://schemas.microsoft.com/office/drawing/2014/main" id="{88B76CD8-7FE4-058C-6212-5BC94606E49D}"/>
              </a:ext>
            </a:extLst>
          </p:cNvPr>
          <p:cNvSpPr/>
          <p:nvPr userDrawn="1"/>
        </p:nvSpPr>
        <p:spPr>
          <a:xfrm>
            <a:off x="-881171" y="2858659"/>
            <a:ext cx="623775" cy="623775"/>
          </a:xfrm>
          <a:prstGeom prst="rect">
            <a:avLst/>
          </a:prstGeom>
          <a:solidFill>
            <a:srgbClr val="DDD9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221</a:t>
            </a:r>
          </a:p>
          <a:p>
            <a:pPr algn="ctr"/>
            <a:r>
              <a:rPr lang="en-US" sz="1051"/>
              <a:t>217</a:t>
            </a:r>
          </a:p>
          <a:p>
            <a:pPr algn="ctr"/>
            <a:r>
              <a:rPr lang="en-US" sz="1051"/>
              <a:t>195</a:t>
            </a:r>
          </a:p>
        </p:txBody>
      </p:sp>
      <p:sp>
        <p:nvSpPr>
          <p:cNvPr id="33" name="TextBox 32">
            <a:extLst>
              <a:ext uri="{FF2B5EF4-FFF2-40B4-BE49-F238E27FC236}">
                <a16:creationId xmlns:a16="http://schemas.microsoft.com/office/drawing/2014/main" id="{A3D5112E-70E4-8B13-A206-1E9D20426DF9}"/>
              </a:ext>
            </a:extLst>
          </p:cNvPr>
          <p:cNvSpPr txBox="1"/>
          <p:nvPr userDrawn="1"/>
        </p:nvSpPr>
        <p:spPr>
          <a:xfrm>
            <a:off x="-1828093" y="4546298"/>
            <a:ext cx="764127" cy="254044"/>
          </a:xfrm>
          <a:prstGeom prst="rect">
            <a:avLst/>
          </a:prstGeom>
          <a:noFill/>
        </p:spPr>
        <p:txBody>
          <a:bodyPr wrap="square" rtlCol="0">
            <a:spAutoFit/>
          </a:bodyPr>
          <a:lstStyle/>
          <a:p>
            <a:pPr algn="ctr"/>
            <a:r>
              <a:rPr lang="en-US" sz="1051"/>
              <a:t>Accent 3</a:t>
            </a:r>
            <a:endParaRPr lang="en-CA" sz="1051"/>
          </a:p>
        </p:txBody>
      </p:sp>
      <p:sp>
        <p:nvSpPr>
          <p:cNvPr id="34" name="Rectangle 33">
            <a:extLst>
              <a:ext uri="{FF2B5EF4-FFF2-40B4-BE49-F238E27FC236}">
                <a16:creationId xmlns:a16="http://schemas.microsoft.com/office/drawing/2014/main" id="{D998FE6F-7093-107D-AFC0-A9052EBF2A19}"/>
              </a:ext>
            </a:extLst>
          </p:cNvPr>
          <p:cNvSpPr/>
          <p:nvPr userDrawn="1"/>
        </p:nvSpPr>
        <p:spPr>
          <a:xfrm>
            <a:off x="-1757918" y="3874750"/>
            <a:ext cx="623775" cy="623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8</a:t>
            </a:r>
          </a:p>
          <a:p>
            <a:pPr algn="ctr"/>
            <a:r>
              <a:rPr lang="en-US" sz="1051"/>
              <a:t>26</a:t>
            </a:r>
          </a:p>
          <a:p>
            <a:pPr algn="ctr"/>
            <a:r>
              <a:rPr lang="en-US" sz="1051"/>
              <a:t>44</a:t>
            </a:r>
          </a:p>
        </p:txBody>
      </p:sp>
      <p:sp>
        <p:nvSpPr>
          <p:cNvPr id="35" name="TextBox 34">
            <a:extLst>
              <a:ext uri="{FF2B5EF4-FFF2-40B4-BE49-F238E27FC236}">
                <a16:creationId xmlns:a16="http://schemas.microsoft.com/office/drawing/2014/main" id="{15B44773-9FF7-8443-845B-14EC81EC1A1D}"/>
              </a:ext>
            </a:extLst>
          </p:cNvPr>
          <p:cNvSpPr txBox="1"/>
          <p:nvPr userDrawn="1"/>
        </p:nvSpPr>
        <p:spPr>
          <a:xfrm>
            <a:off x="-989556" y="4546298"/>
            <a:ext cx="840540" cy="254044"/>
          </a:xfrm>
          <a:prstGeom prst="rect">
            <a:avLst/>
          </a:prstGeom>
          <a:noFill/>
        </p:spPr>
        <p:txBody>
          <a:bodyPr wrap="square" rtlCol="0">
            <a:spAutoFit/>
          </a:bodyPr>
          <a:lstStyle/>
          <a:p>
            <a:pPr algn="ctr"/>
            <a:r>
              <a:rPr lang="en-US" sz="1051"/>
              <a:t>Accent 4</a:t>
            </a:r>
            <a:endParaRPr lang="en-CA" sz="1051"/>
          </a:p>
        </p:txBody>
      </p:sp>
      <p:sp>
        <p:nvSpPr>
          <p:cNvPr id="36" name="Rectangle 35">
            <a:extLst>
              <a:ext uri="{FF2B5EF4-FFF2-40B4-BE49-F238E27FC236}">
                <a16:creationId xmlns:a16="http://schemas.microsoft.com/office/drawing/2014/main" id="{CD384A26-DAD0-C2F5-6F6D-1E99E089B400}"/>
              </a:ext>
            </a:extLst>
          </p:cNvPr>
          <p:cNvSpPr/>
          <p:nvPr userDrawn="1"/>
        </p:nvSpPr>
        <p:spPr>
          <a:xfrm>
            <a:off x="-881171" y="3874750"/>
            <a:ext cx="623775" cy="62377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a:t>221</a:t>
            </a:r>
          </a:p>
          <a:p>
            <a:pPr algn="ctr"/>
            <a:r>
              <a:rPr lang="en-US" sz="1051"/>
              <a:t>221</a:t>
            </a:r>
          </a:p>
          <a:p>
            <a:pPr algn="ctr"/>
            <a:r>
              <a:rPr lang="en-US" sz="1051"/>
              <a:t>221</a:t>
            </a:r>
          </a:p>
        </p:txBody>
      </p:sp>
      <p:pic>
        <p:nvPicPr>
          <p:cNvPr id="5" name="Picture 4" descr="A picture containing text, clipart&#10;&#10;Description automatically generated">
            <a:extLst>
              <a:ext uri="{FF2B5EF4-FFF2-40B4-BE49-F238E27FC236}">
                <a16:creationId xmlns:a16="http://schemas.microsoft.com/office/drawing/2014/main" id="{A39148CD-CDE5-CD71-E05F-D413E892AC4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1" name="TextBox 10">
            <a:extLst>
              <a:ext uri="{FF2B5EF4-FFF2-40B4-BE49-F238E27FC236}">
                <a16:creationId xmlns:a16="http://schemas.microsoft.com/office/drawing/2014/main" id="{A34C00C7-2D9A-0E42-A581-B4EE6EF3CB81}"/>
              </a:ext>
            </a:extLst>
          </p:cNvPr>
          <p:cNvSpPr txBox="1"/>
          <p:nvPr userDrawn="1"/>
        </p:nvSpPr>
        <p:spPr>
          <a:xfrm>
            <a:off x="6893568" y="253830"/>
            <a:ext cx="1641595" cy="230832"/>
          </a:xfrm>
          <a:prstGeom prst="rect">
            <a:avLst/>
          </a:prstGeom>
          <a:noFill/>
        </p:spPr>
        <p:txBody>
          <a:bodyPr wrap="square" rtlCol="0" anchor="ctr">
            <a:spAutoFit/>
          </a:bodyPr>
          <a:lstStyle/>
          <a:p>
            <a:pPr algn="r"/>
            <a:r>
              <a:rPr lang="en-US" sz="900">
                <a:solidFill>
                  <a:schemeClr val="bg2"/>
                </a:solidFill>
              </a:rPr>
              <a:t>TFS INVESTMENT GROUP</a:t>
            </a:r>
          </a:p>
        </p:txBody>
      </p:sp>
      <p:sp>
        <p:nvSpPr>
          <p:cNvPr id="16" name="Rectangle 15">
            <a:extLst>
              <a:ext uri="{FF2B5EF4-FFF2-40B4-BE49-F238E27FC236}">
                <a16:creationId xmlns:a16="http://schemas.microsoft.com/office/drawing/2014/main" id="{DE43BD0D-B9C9-2DD7-9533-304F10702F23}"/>
              </a:ext>
            </a:extLst>
          </p:cNvPr>
          <p:cNvSpPr/>
          <p:nvPr userDrawn="1"/>
        </p:nvSpPr>
        <p:spPr>
          <a:xfrm>
            <a:off x="9264505" y="-1"/>
            <a:ext cx="1842977" cy="5341121"/>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900" b="1">
                <a:solidFill>
                  <a:schemeClr val="tx1"/>
                </a:solidFill>
                <a:latin typeface="+mj-lt"/>
              </a:rPr>
              <a:t>Font: Arial</a:t>
            </a:r>
          </a:p>
          <a:p>
            <a:pPr marL="171446" indent="-171446" algn="l">
              <a:buClr>
                <a:schemeClr val="accent1"/>
              </a:buClr>
              <a:buFont typeface="Wingdings" panose="05000000000000000000" pitchFamily="2" charset="2"/>
              <a:buChar char="§"/>
            </a:pPr>
            <a:r>
              <a:rPr lang="en-US" sz="900">
                <a:solidFill>
                  <a:schemeClr val="tx1"/>
                </a:solidFill>
                <a:latin typeface="+mj-lt"/>
              </a:rPr>
              <a:t>Title: 20</a:t>
            </a:r>
          </a:p>
          <a:p>
            <a:pPr marL="171446" indent="-171446" algn="l">
              <a:buClr>
                <a:schemeClr val="accent1"/>
              </a:buClr>
              <a:buFont typeface="Wingdings" panose="05000000000000000000" pitchFamily="2" charset="2"/>
              <a:buChar char="§"/>
            </a:pPr>
            <a:r>
              <a:rPr lang="en-US" sz="900">
                <a:solidFill>
                  <a:schemeClr val="tx1"/>
                </a:solidFill>
                <a:latin typeface="+mj-lt"/>
              </a:rPr>
              <a:t>Subtitle: 14</a:t>
            </a:r>
          </a:p>
          <a:p>
            <a:pPr marL="171446" indent="-171446" algn="l">
              <a:buClr>
                <a:schemeClr val="accent1"/>
              </a:buClr>
              <a:buFont typeface="Wingdings" panose="05000000000000000000" pitchFamily="2" charset="2"/>
              <a:buChar char="§"/>
            </a:pPr>
            <a:r>
              <a:rPr lang="en-US" sz="900">
                <a:solidFill>
                  <a:schemeClr val="tx1"/>
                </a:solidFill>
                <a:latin typeface="+mj-lt"/>
              </a:rPr>
              <a:t>Content Headings: 12</a:t>
            </a:r>
          </a:p>
          <a:p>
            <a:pPr marL="171446" indent="-171446" algn="l">
              <a:buClr>
                <a:schemeClr val="accent1"/>
              </a:buClr>
              <a:buFont typeface="Wingdings" panose="05000000000000000000" pitchFamily="2" charset="2"/>
              <a:buChar char="§"/>
            </a:pPr>
            <a:r>
              <a:rPr lang="en-US" sz="900">
                <a:solidFill>
                  <a:schemeClr val="tx1"/>
                </a:solidFill>
                <a:latin typeface="+mj-lt"/>
              </a:rPr>
              <a:t>General: 9</a:t>
            </a:r>
          </a:p>
          <a:p>
            <a:pPr marL="171446" indent="-171446" algn="l">
              <a:buClr>
                <a:schemeClr val="accent1"/>
              </a:buClr>
              <a:buFont typeface="Wingdings" panose="05000000000000000000" pitchFamily="2" charset="2"/>
              <a:buChar char="§"/>
            </a:pPr>
            <a:r>
              <a:rPr lang="en-US" sz="900">
                <a:solidFill>
                  <a:schemeClr val="tx1"/>
                </a:solidFill>
                <a:latin typeface="+mj-lt"/>
              </a:rPr>
              <a:t>Graphs: 9</a:t>
            </a:r>
          </a:p>
          <a:p>
            <a:pPr algn="l"/>
            <a:endParaRPr lang="en-US" sz="900" b="1">
              <a:solidFill>
                <a:schemeClr val="tx1"/>
              </a:solidFill>
              <a:latin typeface="+mj-lt"/>
            </a:endParaRPr>
          </a:p>
          <a:p>
            <a:pPr algn="l"/>
            <a:r>
              <a:rPr lang="en-US" sz="900" b="1">
                <a:solidFill>
                  <a:schemeClr val="tx1"/>
                </a:solidFill>
                <a:latin typeface="+mj-lt"/>
              </a:rPr>
              <a:t>Dollar Notation</a:t>
            </a:r>
          </a:p>
          <a:p>
            <a:pPr marL="171446" indent="-171446" algn="l">
              <a:buClr>
                <a:schemeClr val="accent1"/>
              </a:buClr>
              <a:buFont typeface="Wingdings" panose="05000000000000000000" pitchFamily="2" charset="2"/>
              <a:buChar char="§"/>
            </a:pPr>
            <a:r>
              <a:rPr lang="en-US" sz="900">
                <a:solidFill>
                  <a:schemeClr val="tx1"/>
                </a:solidFill>
                <a:latin typeface="+mj-lt"/>
              </a:rPr>
              <a:t>General - $#mm and $#bn</a:t>
            </a:r>
          </a:p>
          <a:p>
            <a:pPr marL="171446" indent="-171446" algn="l">
              <a:buClr>
                <a:schemeClr val="accent1"/>
              </a:buClr>
              <a:buFont typeface="Wingdings" panose="05000000000000000000" pitchFamily="2" charset="2"/>
              <a:buChar char="§"/>
            </a:pPr>
            <a:r>
              <a:rPr lang="en-US" sz="900">
                <a:solidFill>
                  <a:schemeClr val="tx1"/>
                </a:solidFill>
                <a:latin typeface="+mj-lt"/>
              </a:rPr>
              <a:t>Currency - US$## and C$##</a:t>
            </a:r>
          </a:p>
          <a:p>
            <a:pPr marL="171446" indent="-171446" algn="l">
              <a:buClr>
                <a:schemeClr val="accent1"/>
              </a:buClr>
              <a:buFont typeface="Wingdings" panose="05000000000000000000" pitchFamily="2" charset="2"/>
              <a:buChar char="§"/>
            </a:pPr>
            <a:r>
              <a:rPr lang="en-US" sz="900">
                <a:solidFill>
                  <a:schemeClr val="tx1"/>
                </a:solidFill>
                <a:latin typeface="+mj-lt"/>
              </a:rPr>
              <a:t>Ranges - $#-#mm (and bn)</a:t>
            </a:r>
          </a:p>
          <a:p>
            <a:pPr marL="171446" indent="-171446" algn="l">
              <a:buClr>
                <a:schemeClr val="accent1"/>
              </a:buClr>
              <a:buFont typeface="Wingdings" panose="05000000000000000000" pitchFamily="2" charset="2"/>
              <a:buChar char="§"/>
            </a:pPr>
            <a:r>
              <a:rPr lang="en-US" sz="900">
                <a:solidFill>
                  <a:schemeClr val="tx1"/>
                </a:solidFill>
                <a:latin typeface="+mj-lt"/>
              </a:rPr>
              <a:t>1 decimal place, 2 for per share</a:t>
            </a:r>
          </a:p>
          <a:p>
            <a:pPr marL="171446" indent="-171446" algn="l">
              <a:buClr>
                <a:schemeClr val="accent1"/>
              </a:buClr>
              <a:buFont typeface="Wingdings" panose="05000000000000000000" pitchFamily="2" charset="2"/>
              <a:buChar char="§"/>
            </a:pPr>
            <a:r>
              <a:rPr lang="en-US" sz="900">
                <a:solidFill>
                  <a:schemeClr val="tx1"/>
                </a:solidFill>
                <a:latin typeface="+mj-lt"/>
              </a:rPr>
              <a:t>General - #,##0.0;(#,##0.0);-</a:t>
            </a:r>
          </a:p>
          <a:p>
            <a:pPr marL="171446" indent="-171446" algn="l">
              <a:buClr>
                <a:schemeClr val="accent1"/>
              </a:buClr>
              <a:buFont typeface="Wingdings" panose="05000000000000000000" pitchFamily="2" charset="2"/>
              <a:buChar char="§"/>
            </a:pPr>
            <a:endParaRPr lang="en-US" sz="900">
              <a:solidFill>
                <a:schemeClr val="tx1"/>
              </a:solidFill>
              <a:latin typeface="+mj-lt"/>
            </a:endParaRPr>
          </a:p>
          <a:p>
            <a:pPr marL="0" indent="0" algn="l">
              <a:buClr>
                <a:schemeClr val="accent1"/>
              </a:buClr>
              <a:buFont typeface="Wingdings" panose="05000000000000000000" pitchFamily="2" charset="2"/>
              <a:buNone/>
            </a:pPr>
            <a:r>
              <a:rPr lang="en-US" sz="900" b="1">
                <a:solidFill>
                  <a:schemeClr val="tx1"/>
                </a:solidFill>
                <a:latin typeface="+mj-lt"/>
              </a:rPr>
              <a:t>Sources and Footnotes:</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Mark footnote with </a:t>
            </a:r>
            <a:r>
              <a:rPr lang="en-US" sz="900" i="1" baseline="30000">
                <a:solidFill>
                  <a:schemeClr val="tx1"/>
                </a:solidFill>
                <a:latin typeface="+mj-lt"/>
              </a:rPr>
              <a:t>(#) </a:t>
            </a:r>
            <a:r>
              <a:rPr lang="en-US" sz="900" i="0" baseline="0">
                <a:solidFill>
                  <a:schemeClr val="tx1"/>
                </a:solidFill>
                <a:latin typeface="+mj-lt"/>
              </a:rPr>
              <a:t>in your text</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i="0" baseline="0">
                <a:solidFill>
                  <a:schemeClr val="tx1"/>
                </a:solidFill>
                <a:latin typeface="+mj-lt"/>
              </a:rPr>
              <a:t>Begin footnote with (#) in the footer and “Sources:” (even if there is only one source)</a:t>
            </a:r>
            <a:endParaRPr lang="en-US" sz="900" i="0" baseline="30000">
              <a:solidFill>
                <a:schemeClr val="tx1"/>
              </a:solidFill>
              <a:latin typeface="+mj-lt"/>
            </a:endParaRP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lways pt 7 font siz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Capitalized Cas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and” between 2</a:t>
            </a:r>
            <a:r>
              <a:rPr lang="en-US" sz="900" baseline="30000">
                <a:solidFill>
                  <a:schemeClr val="tx1"/>
                </a:solidFill>
                <a:latin typeface="+mj-lt"/>
              </a:rPr>
              <a:t>nd</a:t>
            </a:r>
            <a:r>
              <a:rPr lang="en-US" sz="900">
                <a:solidFill>
                  <a:schemeClr val="tx1"/>
                </a:solidFill>
                <a:latin typeface="+mj-lt"/>
              </a:rPr>
              <a:t> last and last sourc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i.e. (1) Sources: Bloomberg</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900">
              <a:solidFill>
                <a:schemeClr val="tx1"/>
              </a:solidFill>
              <a:latin typeface="+mj-lt"/>
            </a:endParaRPr>
          </a:p>
          <a:p>
            <a:pPr marL="0" marR="0" lvl="0" indent="0"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900" b="1">
                <a:solidFill>
                  <a:schemeClr val="tx1"/>
                </a:solidFill>
                <a:latin typeface="+mj-lt"/>
              </a:rPr>
              <a:t>Charts and Graphs:</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nt size 9 and Arial 9 (black font)</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llow number notations abov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Use </a:t>
            </a:r>
            <a:r>
              <a:rPr lang="en-US" sz="900" err="1">
                <a:solidFill>
                  <a:schemeClr val="tx1"/>
                </a:solidFill>
                <a:latin typeface="+mj-lt"/>
              </a:rPr>
              <a:t>TFSIGcolours</a:t>
            </a:r>
            <a:endParaRPr lang="en-US" sz="900">
              <a:solidFill>
                <a:schemeClr val="tx1"/>
              </a:solidFill>
              <a:latin typeface="+mj-lt"/>
            </a:endParaRP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lines – Black</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tick marks – major and outside</a:t>
            </a:r>
          </a:p>
          <a:p>
            <a:pPr marL="171446" marR="0" lvl="0" indent="-171446" algn="l" defTabSz="914377"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horizontal or vertical lines (default grey ones)</a:t>
            </a:r>
          </a:p>
        </p:txBody>
      </p:sp>
    </p:spTree>
    <p:extLst>
      <p:ext uri="{BB962C8B-B14F-4D97-AF65-F5344CB8AC3E}">
        <p14:creationId xmlns:p14="http://schemas.microsoft.com/office/powerpoint/2010/main" val="108896749"/>
      </p:ext>
    </p:extLst>
  </p:cSld>
  <p:clrMap bg1="lt1" tx1="dk1" bg2="lt2" tx2="dk2" accent1="accent1" accent2="accent2" accent3="accent3" accent4="accent4" accent5="accent5" accent6="accent6" hlink="hlink" folHlink="folHlink"/>
  <p:sldLayoutIdLst>
    <p:sldLayoutId id="2147483706" r:id="rId1"/>
    <p:sldLayoutId id="2147483705" r:id="rId2"/>
    <p:sldLayoutId id="2147483696" r:id="rId3"/>
  </p:sldLayoutIdLst>
  <p:txStyles>
    <p:titleStyle>
      <a:lvl1pPr algn="l" defTabSz="914377" rtl="0" eaLnBrk="1" latinLnBrk="0" hangingPunct="1">
        <a:lnSpc>
          <a:spcPct val="100000"/>
        </a:lnSpc>
        <a:spcBef>
          <a:spcPct val="0"/>
        </a:spcBef>
        <a:buNone/>
        <a:defRPr sz="2000" kern="1200">
          <a:solidFill>
            <a:schemeClr val="accent1"/>
          </a:solidFill>
          <a:latin typeface="+mj-lt"/>
          <a:ea typeface="+mj-ea"/>
          <a:cs typeface="Goldman Sans Bold" panose="020B0803020203020204" pitchFamily="34" charset="0"/>
        </a:defRPr>
      </a:lvl1pPr>
    </p:titleStyle>
    <p:body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51"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45"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38" indent="-228594" algn="l" defTabSz="914377"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57" indent="-228594" algn="l" defTabSz="914377"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537"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726" indent="-228594" algn="l" defTabSz="914377"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Master Tit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8" name="Date Placeholder 7">
            <a:extLst>
              <a:ext uri="{FF2B5EF4-FFF2-40B4-BE49-F238E27FC236}">
                <a16:creationId xmlns:a16="http://schemas.microsoft.com/office/drawing/2014/main" id="{D812E4C5-967F-4468-9D64-7C21F0F98D40}"/>
              </a:ext>
            </a:extLst>
          </p:cNvPr>
          <p:cNvSpPr>
            <a:spLocks noGrp="1"/>
          </p:cNvSpPr>
          <p:nvPr>
            <p:ph type="dt" sz="half" idx="2"/>
          </p:nvPr>
        </p:nvSpPr>
        <p:spPr>
          <a:xfrm>
            <a:off x="628650" y="6356354"/>
            <a:ext cx="20574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368A9EC3-EB35-4F5D-A481-D043DD8BAC84}" type="datetimeFigureOut">
              <a:rPr lang="en-US" smtClean="0"/>
              <a:pPr/>
              <a:t>12/2/2024</a:t>
            </a:fld>
            <a:endParaRPr lang="en-US"/>
          </a:p>
        </p:txBody>
      </p:sp>
      <p:sp>
        <p:nvSpPr>
          <p:cNvPr id="9" name="Footer Placeholder 8">
            <a:extLst>
              <a:ext uri="{FF2B5EF4-FFF2-40B4-BE49-F238E27FC236}">
                <a16:creationId xmlns:a16="http://schemas.microsoft.com/office/drawing/2014/main" id="{CC3C1695-E68D-41C7-86C7-181E28280176}"/>
              </a:ext>
            </a:extLst>
          </p:cNvPr>
          <p:cNvSpPr>
            <a:spLocks noGrp="1"/>
          </p:cNvSpPr>
          <p:nvPr>
            <p:ph type="ftr" sz="quarter" idx="3"/>
          </p:nvPr>
        </p:nvSpPr>
        <p:spPr>
          <a:xfrm>
            <a:off x="3028950" y="6356354"/>
            <a:ext cx="30861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endParaRPr lang="en-US"/>
          </a:p>
        </p:txBody>
      </p:sp>
      <p:sp>
        <p:nvSpPr>
          <p:cNvPr id="10" name="Slide Number Placeholder 9">
            <a:extLst>
              <a:ext uri="{FF2B5EF4-FFF2-40B4-BE49-F238E27FC236}">
                <a16:creationId xmlns:a16="http://schemas.microsoft.com/office/drawing/2014/main" id="{5C547560-5BA1-421D-911E-18D76B3441D6}"/>
              </a:ext>
            </a:extLst>
          </p:cNvPr>
          <p:cNvSpPr>
            <a:spLocks noGrp="1"/>
          </p:cNvSpPr>
          <p:nvPr>
            <p:ph type="sldNum" sz="quarter" idx="4"/>
          </p:nvPr>
        </p:nvSpPr>
        <p:spPr>
          <a:xfrm>
            <a:off x="6457950" y="6356354"/>
            <a:ext cx="2057400" cy="365125"/>
          </a:xfrm>
          <a:prstGeom prst="rect">
            <a:avLst/>
          </a:prstGeom>
        </p:spPr>
        <p:txBody>
          <a:bodyPr vert="horz" lIns="91440" tIns="45720" rIns="91440" bIns="45720" rtlCol="0" anchor="ctr"/>
          <a:lstStyle>
            <a:lvl1pPr algn="r">
              <a:defRPr sz="1200">
                <a:solidFill>
                  <a:schemeClr val="tx1">
                    <a:tint val="75000"/>
                  </a:schemeClr>
                </a:solidFill>
                <a:latin typeface="+mj-lt"/>
                <a:cs typeface="Goldman Sans Thin" panose="020B0303020203020204" pitchFamily="34" charset="0"/>
              </a:defRPr>
            </a:lvl1pPr>
          </a:lstStyle>
          <a:p>
            <a:fld id="{1B80B332-6B81-4811-A13B-2B89943A5333}" type="slidenum">
              <a:rPr lang="en-US" smtClean="0"/>
              <a:pPr/>
              <a:t>‹#›</a:t>
            </a:fld>
            <a:endParaRPr lang="en-US"/>
          </a:p>
        </p:txBody>
      </p:sp>
      <p:sp>
        <p:nvSpPr>
          <p:cNvPr id="4" name="Rectangle 3">
            <a:extLst>
              <a:ext uri="{FF2B5EF4-FFF2-40B4-BE49-F238E27FC236}">
                <a16:creationId xmlns:a16="http://schemas.microsoft.com/office/drawing/2014/main" id="{A3E98B7F-4DAA-1283-5D39-68D4AEAFC324}"/>
              </a:ext>
            </a:extLst>
          </p:cNvPr>
          <p:cNvSpPr/>
          <p:nvPr userDrawn="1"/>
        </p:nvSpPr>
        <p:spPr>
          <a:xfrm>
            <a:off x="-1963480" y="0"/>
            <a:ext cx="1842977" cy="5341120"/>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900">
              <a:solidFill>
                <a:schemeClr val="tx1"/>
              </a:solidFill>
              <a:latin typeface="+mj-lt"/>
            </a:endParaRPr>
          </a:p>
        </p:txBody>
      </p:sp>
      <p:graphicFrame>
        <p:nvGraphicFramePr>
          <p:cNvPr id="6" name="Table 8">
            <a:extLst>
              <a:ext uri="{FF2B5EF4-FFF2-40B4-BE49-F238E27FC236}">
                <a16:creationId xmlns:a16="http://schemas.microsoft.com/office/drawing/2014/main" id="{AC2C8BEE-05CE-E164-CC60-9DCF360E0523}"/>
              </a:ext>
            </a:extLst>
          </p:cNvPr>
          <p:cNvGraphicFramePr>
            <a:graphicFrameLocks/>
          </p:cNvGraphicFramePr>
          <p:nvPr userDrawn="1"/>
        </p:nvGraphicFramePr>
        <p:xfrm>
          <a:off x="-1757915" y="141441"/>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a:solidFill>
                            <a:schemeClr val="tx2"/>
                          </a:solidFill>
                          <a:latin typeface="+mj-lt"/>
                        </a:rPr>
                        <a:t>Font </a:t>
                      </a:r>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7" name="Rectangle 6">
            <a:extLst>
              <a:ext uri="{FF2B5EF4-FFF2-40B4-BE49-F238E27FC236}">
                <a16:creationId xmlns:a16="http://schemas.microsoft.com/office/drawing/2014/main" id="{35AEC9A5-A30E-99DB-F0F9-CC2A83CEBFB0}"/>
              </a:ext>
            </a:extLst>
          </p:cNvPr>
          <p:cNvSpPr/>
          <p:nvPr userDrawn="1"/>
        </p:nvSpPr>
        <p:spPr>
          <a:xfrm>
            <a:off x="-1757916" y="484662"/>
            <a:ext cx="623775" cy="623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0</a:t>
            </a:r>
          </a:p>
          <a:p>
            <a:pPr algn="ctr"/>
            <a:r>
              <a:rPr lang="en-US" sz="1050"/>
              <a:t>0</a:t>
            </a:r>
          </a:p>
          <a:p>
            <a:pPr algn="ctr"/>
            <a:r>
              <a:rPr lang="en-US" sz="1050"/>
              <a:t>0</a:t>
            </a:r>
          </a:p>
        </p:txBody>
      </p:sp>
      <p:sp>
        <p:nvSpPr>
          <p:cNvPr id="12" name="TextBox 11">
            <a:extLst>
              <a:ext uri="{FF2B5EF4-FFF2-40B4-BE49-F238E27FC236}">
                <a16:creationId xmlns:a16="http://schemas.microsoft.com/office/drawing/2014/main" id="{44718FC3-D108-23F3-F8EC-696452B21295}"/>
              </a:ext>
            </a:extLst>
          </p:cNvPr>
          <p:cNvSpPr txBox="1"/>
          <p:nvPr userDrawn="1"/>
        </p:nvSpPr>
        <p:spPr>
          <a:xfrm>
            <a:off x="-1793360" y="1156213"/>
            <a:ext cx="694661" cy="253916"/>
          </a:xfrm>
          <a:prstGeom prst="rect">
            <a:avLst/>
          </a:prstGeom>
          <a:noFill/>
        </p:spPr>
        <p:txBody>
          <a:bodyPr wrap="square" rtlCol="0">
            <a:spAutoFit/>
          </a:bodyPr>
          <a:lstStyle/>
          <a:p>
            <a:pPr algn="ctr"/>
            <a:r>
              <a:rPr lang="en-US" sz="1050"/>
              <a:t>General</a:t>
            </a:r>
            <a:endParaRPr lang="en-CA" sz="1050"/>
          </a:p>
        </p:txBody>
      </p:sp>
      <p:sp>
        <p:nvSpPr>
          <p:cNvPr id="13" name="Rectangle 12">
            <a:extLst>
              <a:ext uri="{FF2B5EF4-FFF2-40B4-BE49-F238E27FC236}">
                <a16:creationId xmlns:a16="http://schemas.microsoft.com/office/drawing/2014/main" id="{D14F1B15-4C5A-BD8F-A30A-BD19EEDF4B53}"/>
              </a:ext>
            </a:extLst>
          </p:cNvPr>
          <p:cNvSpPr/>
          <p:nvPr userDrawn="1"/>
        </p:nvSpPr>
        <p:spPr>
          <a:xfrm>
            <a:off x="-881172" y="484662"/>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5</a:t>
            </a:r>
          </a:p>
          <a:p>
            <a:pPr algn="ctr"/>
            <a:r>
              <a:rPr lang="en-US" sz="1050"/>
              <a:t>53</a:t>
            </a:r>
          </a:p>
          <a:p>
            <a:pPr algn="ctr"/>
            <a:r>
              <a:rPr lang="en-US" sz="1050"/>
              <a:t>87</a:t>
            </a:r>
          </a:p>
        </p:txBody>
      </p:sp>
      <p:sp>
        <p:nvSpPr>
          <p:cNvPr id="14" name="TextBox 13">
            <a:extLst>
              <a:ext uri="{FF2B5EF4-FFF2-40B4-BE49-F238E27FC236}">
                <a16:creationId xmlns:a16="http://schemas.microsoft.com/office/drawing/2014/main" id="{50A98D96-C95C-34D5-0119-DA7D722BF98C}"/>
              </a:ext>
            </a:extLst>
          </p:cNvPr>
          <p:cNvSpPr txBox="1"/>
          <p:nvPr userDrawn="1"/>
        </p:nvSpPr>
        <p:spPr>
          <a:xfrm>
            <a:off x="-916616" y="1156213"/>
            <a:ext cx="694661" cy="253916"/>
          </a:xfrm>
          <a:prstGeom prst="rect">
            <a:avLst/>
          </a:prstGeom>
          <a:noFill/>
        </p:spPr>
        <p:txBody>
          <a:bodyPr wrap="square" rtlCol="0">
            <a:spAutoFit/>
          </a:bodyPr>
          <a:lstStyle/>
          <a:p>
            <a:pPr algn="ctr"/>
            <a:r>
              <a:rPr lang="en-US" sz="1050" err="1"/>
              <a:t>Colour</a:t>
            </a:r>
            <a:endParaRPr lang="en-CA" sz="1050"/>
          </a:p>
        </p:txBody>
      </p:sp>
      <p:graphicFrame>
        <p:nvGraphicFramePr>
          <p:cNvPr id="15" name="Table 8">
            <a:extLst>
              <a:ext uri="{FF2B5EF4-FFF2-40B4-BE49-F238E27FC236}">
                <a16:creationId xmlns:a16="http://schemas.microsoft.com/office/drawing/2014/main" id="{670A8C97-741E-2B82-1217-8F2BC954A4DD}"/>
              </a:ext>
            </a:extLst>
          </p:cNvPr>
          <p:cNvGraphicFramePr>
            <a:graphicFrameLocks/>
          </p:cNvGraphicFramePr>
          <p:nvPr userDrawn="1"/>
        </p:nvGraphicFramePr>
        <p:xfrm>
          <a:off x="-1757915" y="1500662"/>
          <a:ext cx="1500518" cy="251460"/>
        </p:xfrm>
        <a:graphic>
          <a:graphicData uri="http://schemas.openxmlformats.org/drawingml/2006/table">
            <a:tbl>
              <a:tblPr firstRow="1" bandRow="1">
                <a:tableStyleId>{5C22544A-7EE6-4342-B048-85BDC9FD1C3A}</a:tableStyleId>
              </a:tblPr>
              <a:tblGrid>
                <a:gridCol w="1500518">
                  <a:extLst>
                    <a:ext uri="{9D8B030D-6E8A-4147-A177-3AD203B41FA5}">
                      <a16:colId xmlns:a16="http://schemas.microsoft.com/office/drawing/2014/main" val="3437084154"/>
                    </a:ext>
                  </a:extLst>
                </a:gridCol>
              </a:tblGrid>
              <a:tr h="0">
                <a:tc>
                  <a:txBody>
                    <a:bodyPr/>
                    <a:lstStyle/>
                    <a:p>
                      <a:r>
                        <a:rPr lang="en-US" sz="1050" b="1" err="1">
                          <a:solidFill>
                            <a:schemeClr val="tx2"/>
                          </a:solidFill>
                          <a:latin typeface="+mj-lt"/>
                        </a:rPr>
                        <a:t>Colours</a:t>
                      </a:r>
                      <a:endParaRPr lang="en-CA" sz="105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7" name="TextBox 16">
            <a:extLst>
              <a:ext uri="{FF2B5EF4-FFF2-40B4-BE49-F238E27FC236}">
                <a16:creationId xmlns:a16="http://schemas.microsoft.com/office/drawing/2014/main" id="{686F4546-CD9C-FAF7-D157-367198FCCFC5}"/>
              </a:ext>
            </a:extLst>
          </p:cNvPr>
          <p:cNvSpPr txBox="1"/>
          <p:nvPr userDrawn="1"/>
        </p:nvSpPr>
        <p:spPr>
          <a:xfrm>
            <a:off x="-1793360" y="2514206"/>
            <a:ext cx="694661" cy="253916"/>
          </a:xfrm>
          <a:prstGeom prst="rect">
            <a:avLst/>
          </a:prstGeom>
          <a:noFill/>
        </p:spPr>
        <p:txBody>
          <a:bodyPr wrap="square" rtlCol="0">
            <a:spAutoFit/>
          </a:bodyPr>
          <a:lstStyle/>
          <a:p>
            <a:pPr algn="ctr"/>
            <a:r>
              <a:rPr lang="en-US" sz="1050"/>
              <a:t>Primary</a:t>
            </a:r>
            <a:endParaRPr lang="en-CA" sz="1050"/>
          </a:p>
        </p:txBody>
      </p:sp>
      <p:sp>
        <p:nvSpPr>
          <p:cNvPr id="18" name="Rectangle 17">
            <a:extLst>
              <a:ext uri="{FF2B5EF4-FFF2-40B4-BE49-F238E27FC236}">
                <a16:creationId xmlns:a16="http://schemas.microsoft.com/office/drawing/2014/main" id="{5ED42EC4-8947-9721-80D1-EE1CA1F5A265}"/>
              </a:ext>
            </a:extLst>
          </p:cNvPr>
          <p:cNvSpPr/>
          <p:nvPr userDrawn="1"/>
        </p:nvSpPr>
        <p:spPr>
          <a:xfrm>
            <a:off x="-1757918" y="1842655"/>
            <a:ext cx="623775" cy="623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5</a:t>
            </a:r>
          </a:p>
          <a:p>
            <a:pPr algn="ctr"/>
            <a:r>
              <a:rPr lang="en-US" sz="1050"/>
              <a:t>53</a:t>
            </a:r>
          </a:p>
          <a:p>
            <a:pPr algn="ctr"/>
            <a:r>
              <a:rPr lang="en-US" sz="1050"/>
              <a:t>87</a:t>
            </a:r>
          </a:p>
        </p:txBody>
      </p:sp>
      <p:sp>
        <p:nvSpPr>
          <p:cNvPr id="19" name="TextBox 18">
            <a:extLst>
              <a:ext uri="{FF2B5EF4-FFF2-40B4-BE49-F238E27FC236}">
                <a16:creationId xmlns:a16="http://schemas.microsoft.com/office/drawing/2014/main" id="{AED6A09F-12BA-D7F4-2ABC-B96450364D82}"/>
              </a:ext>
            </a:extLst>
          </p:cNvPr>
          <p:cNvSpPr txBox="1"/>
          <p:nvPr userDrawn="1"/>
        </p:nvSpPr>
        <p:spPr>
          <a:xfrm>
            <a:off x="-989556" y="2514206"/>
            <a:ext cx="840540" cy="415498"/>
          </a:xfrm>
          <a:prstGeom prst="rect">
            <a:avLst/>
          </a:prstGeom>
          <a:noFill/>
        </p:spPr>
        <p:txBody>
          <a:bodyPr wrap="square" rtlCol="0">
            <a:spAutoFit/>
          </a:bodyPr>
          <a:lstStyle/>
          <a:p>
            <a:pPr algn="ctr"/>
            <a:r>
              <a:rPr lang="en-US" sz="1050"/>
              <a:t>Secondary</a:t>
            </a:r>
            <a:endParaRPr lang="en-CA" sz="1050"/>
          </a:p>
        </p:txBody>
      </p:sp>
      <p:sp>
        <p:nvSpPr>
          <p:cNvPr id="20" name="Rectangle 19">
            <a:extLst>
              <a:ext uri="{FF2B5EF4-FFF2-40B4-BE49-F238E27FC236}">
                <a16:creationId xmlns:a16="http://schemas.microsoft.com/office/drawing/2014/main" id="{5EC362E1-6B32-9857-8DA7-1B92BF9B60D5}"/>
              </a:ext>
            </a:extLst>
          </p:cNvPr>
          <p:cNvSpPr/>
          <p:nvPr userDrawn="1"/>
        </p:nvSpPr>
        <p:spPr>
          <a:xfrm>
            <a:off x="-881172" y="1842655"/>
            <a:ext cx="623775" cy="623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46</a:t>
            </a:r>
          </a:p>
          <a:p>
            <a:pPr algn="ctr"/>
            <a:r>
              <a:rPr lang="en-US" sz="1050"/>
              <a:t>137</a:t>
            </a:r>
          </a:p>
          <a:p>
            <a:pPr algn="ctr"/>
            <a:r>
              <a:rPr lang="en-US" sz="1050"/>
              <a:t>219</a:t>
            </a:r>
          </a:p>
        </p:txBody>
      </p:sp>
      <p:sp>
        <p:nvSpPr>
          <p:cNvPr id="22" name="TextBox 21">
            <a:extLst>
              <a:ext uri="{FF2B5EF4-FFF2-40B4-BE49-F238E27FC236}">
                <a16:creationId xmlns:a16="http://schemas.microsoft.com/office/drawing/2014/main" id="{C4206984-2D8C-7BE3-8259-EE4E72C938F5}"/>
              </a:ext>
            </a:extLst>
          </p:cNvPr>
          <p:cNvSpPr txBox="1"/>
          <p:nvPr userDrawn="1"/>
        </p:nvSpPr>
        <p:spPr>
          <a:xfrm>
            <a:off x="-1828093" y="3530206"/>
            <a:ext cx="764127" cy="415498"/>
          </a:xfrm>
          <a:prstGeom prst="rect">
            <a:avLst/>
          </a:prstGeom>
          <a:noFill/>
        </p:spPr>
        <p:txBody>
          <a:bodyPr wrap="square" rtlCol="0">
            <a:spAutoFit/>
          </a:bodyPr>
          <a:lstStyle/>
          <a:p>
            <a:pPr algn="ctr"/>
            <a:r>
              <a:rPr lang="en-US" sz="1050"/>
              <a:t>Accent 1</a:t>
            </a:r>
            <a:endParaRPr lang="en-CA" sz="1050"/>
          </a:p>
        </p:txBody>
      </p:sp>
      <p:sp>
        <p:nvSpPr>
          <p:cNvPr id="28" name="Rectangle 27">
            <a:extLst>
              <a:ext uri="{FF2B5EF4-FFF2-40B4-BE49-F238E27FC236}">
                <a16:creationId xmlns:a16="http://schemas.microsoft.com/office/drawing/2014/main" id="{10FBCB18-432E-6447-D0DF-A685A45E862C}"/>
              </a:ext>
            </a:extLst>
          </p:cNvPr>
          <p:cNvSpPr/>
          <p:nvPr userDrawn="1"/>
        </p:nvSpPr>
        <p:spPr>
          <a:xfrm>
            <a:off x="-1757918" y="2858655"/>
            <a:ext cx="623775" cy="623775"/>
          </a:xfrm>
          <a:prstGeom prst="rect">
            <a:avLst/>
          </a:prstGeom>
          <a:solidFill>
            <a:srgbClr val="74B1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16</a:t>
            </a:r>
          </a:p>
          <a:p>
            <a:pPr algn="ctr"/>
            <a:r>
              <a:rPr lang="en-US" sz="1050"/>
              <a:t>177</a:t>
            </a:r>
          </a:p>
          <a:p>
            <a:pPr algn="ctr"/>
            <a:r>
              <a:rPr lang="en-US" sz="1050"/>
              <a:t>231</a:t>
            </a:r>
          </a:p>
        </p:txBody>
      </p:sp>
      <p:sp>
        <p:nvSpPr>
          <p:cNvPr id="31" name="TextBox 30">
            <a:extLst>
              <a:ext uri="{FF2B5EF4-FFF2-40B4-BE49-F238E27FC236}">
                <a16:creationId xmlns:a16="http://schemas.microsoft.com/office/drawing/2014/main" id="{9E1036D1-AFFE-5FD0-7969-CB77700AAA22}"/>
              </a:ext>
            </a:extLst>
          </p:cNvPr>
          <p:cNvSpPr txBox="1"/>
          <p:nvPr userDrawn="1"/>
        </p:nvSpPr>
        <p:spPr>
          <a:xfrm>
            <a:off x="-989556" y="3530206"/>
            <a:ext cx="840540" cy="253916"/>
          </a:xfrm>
          <a:prstGeom prst="rect">
            <a:avLst/>
          </a:prstGeom>
          <a:noFill/>
        </p:spPr>
        <p:txBody>
          <a:bodyPr wrap="square" rtlCol="0">
            <a:spAutoFit/>
          </a:bodyPr>
          <a:lstStyle/>
          <a:p>
            <a:pPr algn="ctr"/>
            <a:r>
              <a:rPr lang="en-US" sz="1050"/>
              <a:t>Accent 2</a:t>
            </a:r>
            <a:endParaRPr lang="en-CA" sz="1050"/>
          </a:p>
        </p:txBody>
      </p:sp>
      <p:sp>
        <p:nvSpPr>
          <p:cNvPr id="32" name="Rectangle 31">
            <a:extLst>
              <a:ext uri="{FF2B5EF4-FFF2-40B4-BE49-F238E27FC236}">
                <a16:creationId xmlns:a16="http://schemas.microsoft.com/office/drawing/2014/main" id="{88B76CD8-7FE4-058C-6212-5BC94606E49D}"/>
              </a:ext>
            </a:extLst>
          </p:cNvPr>
          <p:cNvSpPr/>
          <p:nvPr userDrawn="1"/>
        </p:nvSpPr>
        <p:spPr>
          <a:xfrm>
            <a:off x="-881172" y="2858655"/>
            <a:ext cx="623775" cy="623775"/>
          </a:xfrm>
          <a:prstGeom prst="rect">
            <a:avLst/>
          </a:prstGeom>
          <a:solidFill>
            <a:srgbClr val="DDD9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221</a:t>
            </a:r>
          </a:p>
          <a:p>
            <a:pPr algn="ctr"/>
            <a:r>
              <a:rPr lang="en-US" sz="1050"/>
              <a:t>217</a:t>
            </a:r>
          </a:p>
          <a:p>
            <a:pPr algn="ctr"/>
            <a:r>
              <a:rPr lang="en-US" sz="1050"/>
              <a:t>195</a:t>
            </a:r>
          </a:p>
        </p:txBody>
      </p:sp>
      <p:sp>
        <p:nvSpPr>
          <p:cNvPr id="33" name="TextBox 32">
            <a:extLst>
              <a:ext uri="{FF2B5EF4-FFF2-40B4-BE49-F238E27FC236}">
                <a16:creationId xmlns:a16="http://schemas.microsoft.com/office/drawing/2014/main" id="{A3D5112E-70E4-8B13-A206-1E9D20426DF9}"/>
              </a:ext>
            </a:extLst>
          </p:cNvPr>
          <p:cNvSpPr txBox="1"/>
          <p:nvPr userDrawn="1"/>
        </p:nvSpPr>
        <p:spPr>
          <a:xfrm>
            <a:off x="-1828093" y="4546297"/>
            <a:ext cx="764127" cy="253916"/>
          </a:xfrm>
          <a:prstGeom prst="rect">
            <a:avLst/>
          </a:prstGeom>
          <a:noFill/>
        </p:spPr>
        <p:txBody>
          <a:bodyPr wrap="square" rtlCol="0">
            <a:spAutoFit/>
          </a:bodyPr>
          <a:lstStyle/>
          <a:p>
            <a:pPr algn="ctr"/>
            <a:r>
              <a:rPr lang="en-US" sz="1050"/>
              <a:t>Accent 3</a:t>
            </a:r>
            <a:endParaRPr lang="en-CA" sz="1050"/>
          </a:p>
        </p:txBody>
      </p:sp>
      <p:sp>
        <p:nvSpPr>
          <p:cNvPr id="34" name="Rectangle 33">
            <a:extLst>
              <a:ext uri="{FF2B5EF4-FFF2-40B4-BE49-F238E27FC236}">
                <a16:creationId xmlns:a16="http://schemas.microsoft.com/office/drawing/2014/main" id="{D998FE6F-7093-107D-AFC0-A9052EBF2A19}"/>
              </a:ext>
            </a:extLst>
          </p:cNvPr>
          <p:cNvSpPr/>
          <p:nvPr userDrawn="1"/>
        </p:nvSpPr>
        <p:spPr>
          <a:xfrm>
            <a:off x="-1757918" y="3874746"/>
            <a:ext cx="623775" cy="6237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8</a:t>
            </a:r>
          </a:p>
          <a:p>
            <a:pPr algn="ctr"/>
            <a:r>
              <a:rPr lang="en-US" sz="1050"/>
              <a:t>26</a:t>
            </a:r>
          </a:p>
          <a:p>
            <a:pPr algn="ctr"/>
            <a:r>
              <a:rPr lang="en-US" sz="1050"/>
              <a:t>44</a:t>
            </a:r>
          </a:p>
        </p:txBody>
      </p:sp>
      <p:sp>
        <p:nvSpPr>
          <p:cNvPr id="35" name="TextBox 34">
            <a:extLst>
              <a:ext uri="{FF2B5EF4-FFF2-40B4-BE49-F238E27FC236}">
                <a16:creationId xmlns:a16="http://schemas.microsoft.com/office/drawing/2014/main" id="{15B44773-9FF7-8443-845B-14EC81EC1A1D}"/>
              </a:ext>
            </a:extLst>
          </p:cNvPr>
          <p:cNvSpPr txBox="1"/>
          <p:nvPr userDrawn="1"/>
        </p:nvSpPr>
        <p:spPr>
          <a:xfrm>
            <a:off x="-989556" y="4546297"/>
            <a:ext cx="840540" cy="253916"/>
          </a:xfrm>
          <a:prstGeom prst="rect">
            <a:avLst/>
          </a:prstGeom>
          <a:noFill/>
        </p:spPr>
        <p:txBody>
          <a:bodyPr wrap="square" rtlCol="0">
            <a:spAutoFit/>
          </a:bodyPr>
          <a:lstStyle/>
          <a:p>
            <a:pPr algn="ctr"/>
            <a:r>
              <a:rPr lang="en-US" sz="1050"/>
              <a:t>Accent 4</a:t>
            </a:r>
            <a:endParaRPr lang="en-CA" sz="1050"/>
          </a:p>
        </p:txBody>
      </p:sp>
      <p:sp>
        <p:nvSpPr>
          <p:cNvPr id="36" name="Rectangle 35">
            <a:extLst>
              <a:ext uri="{FF2B5EF4-FFF2-40B4-BE49-F238E27FC236}">
                <a16:creationId xmlns:a16="http://schemas.microsoft.com/office/drawing/2014/main" id="{CD384A26-DAD0-C2F5-6F6D-1E99E089B400}"/>
              </a:ext>
            </a:extLst>
          </p:cNvPr>
          <p:cNvSpPr/>
          <p:nvPr userDrawn="1"/>
        </p:nvSpPr>
        <p:spPr>
          <a:xfrm>
            <a:off x="-881172" y="3874746"/>
            <a:ext cx="623775" cy="62377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221</a:t>
            </a:r>
          </a:p>
          <a:p>
            <a:pPr algn="ctr"/>
            <a:r>
              <a:rPr lang="en-US" sz="1050"/>
              <a:t>221</a:t>
            </a:r>
          </a:p>
          <a:p>
            <a:pPr algn="ctr"/>
            <a:r>
              <a:rPr lang="en-US" sz="1050"/>
              <a:t>221</a:t>
            </a:r>
          </a:p>
        </p:txBody>
      </p:sp>
      <p:pic>
        <p:nvPicPr>
          <p:cNvPr id="5" name="Picture 4" descr="A picture containing text, clipart&#10;&#10;Description automatically generated">
            <a:extLst>
              <a:ext uri="{FF2B5EF4-FFF2-40B4-BE49-F238E27FC236}">
                <a16:creationId xmlns:a16="http://schemas.microsoft.com/office/drawing/2014/main" id="{A39148CD-CDE5-CD71-E05F-D413E892AC4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35161" y="191262"/>
            <a:ext cx="358014" cy="358014"/>
          </a:xfrm>
          <a:prstGeom prst="rect">
            <a:avLst/>
          </a:prstGeom>
        </p:spPr>
      </p:pic>
      <p:sp>
        <p:nvSpPr>
          <p:cNvPr id="11" name="TextBox 10">
            <a:extLst>
              <a:ext uri="{FF2B5EF4-FFF2-40B4-BE49-F238E27FC236}">
                <a16:creationId xmlns:a16="http://schemas.microsoft.com/office/drawing/2014/main" id="{A34C00C7-2D9A-0E42-A581-B4EE6EF3CB81}"/>
              </a:ext>
            </a:extLst>
          </p:cNvPr>
          <p:cNvSpPr txBox="1"/>
          <p:nvPr userDrawn="1"/>
        </p:nvSpPr>
        <p:spPr>
          <a:xfrm>
            <a:off x="6893566" y="253830"/>
            <a:ext cx="1641595" cy="230832"/>
          </a:xfrm>
          <a:prstGeom prst="rect">
            <a:avLst/>
          </a:prstGeom>
          <a:noFill/>
        </p:spPr>
        <p:txBody>
          <a:bodyPr wrap="square" rtlCol="0" anchor="ctr">
            <a:spAutoFit/>
          </a:bodyPr>
          <a:lstStyle/>
          <a:p>
            <a:pPr algn="r"/>
            <a:r>
              <a:rPr lang="en-US" sz="900">
                <a:solidFill>
                  <a:schemeClr val="bg2"/>
                </a:solidFill>
              </a:rPr>
              <a:t>TFS INVESTMENT GROUP</a:t>
            </a:r>
          </a:p>
        </p:txBody>
      </p:sp>
      <p:sp>
        <p:nvSpPr>
          <p:cNvPr id="16" name="Rectangle 15">
            <a:extLst>
              <a:ext uri="{FF2B5EF4-FFF2-40B4-BE49-F238E27FC236}">
                <a16:creationId xmlns:a16="http://schemas.microsoft.com/office/drawing/2014/main" id="{DE43BD0D-B9C9-2DD7-9533-304F10702F23}"/>
              </a:ext>
            </a:extLst>
          </p:cNvPr>
          <p:cNvSpPr/>
          <p:nvPr userDrawn="1"/>
        </p:nvSpPr>
        <p:spPr>
          <a:xfrm>
            <a:off x="9264503" y="-1"/>
            <a:ext cx="1842977" cy="5341121"/>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900" b="1">
                <a:solidFill>
                  <a:schemeClr val="tx1"/>
                </a:solidFill>
                <a:latin typeface="+mj-lt"/>
              </a:rPr>
              <a:t>Font: Arial</a:t>
            </a:r>
          </a:p>
          <a:p>
            <a:pPr marL="171450" indent="-171450" algn="l">
              <a:buClr>
                <a:schemeClr val="accent1"/>
              </a:buClr>
              <a:buFont typeface="Wingdings" panose="05000000000000000000" pitchFamily="2" charset="2"/>
              <a:buChar char="§"/>
            </a:pPr>
            <a:r>
              <a:rPr lang="en-US" sz="900">
                <a:solidFill>
                  <a:schemeClr val="tx1"/>
                </a:solidFill>
                <a:latin typeface="+mj-lt"/>
              </a:rPr>
              <a:t>Title: 20</a:t>
            </a:r>
          </a:p>
          <a:p>
            <a:pPr marL="171450" indent="-171450" algn="l">
              <a:buClr>
                <a:schemeClr val="accent1"/>
              </a:buClr>
              <a:buFont typeface="Wingdings" panose="05000000000000000000" pitchFamily="2" charset="2"/>
              <a:buChar char="§"/>
            </a:pPr>
            <a:r>
              <a:rPr lang="en-US" sz="900">
                <a:solidFill>
                  <a:schemeClr val="tx1"/>
                </a:solidFill>
                <a:latin typeface="+mj-lt"/>
              </a:rPr>
              <a:t>Subtitle: 14</a:t>
            </a:r>
          </a:p>
          <a:p>
            <a:pPr marL="171450" indent="-171450" algn="l">
              <a:buClr>
                <a:schemeClr val="accent1"/>
              </a:buClr>
              <a:buFont typeface="Wingdings" panose="05000000000000000000" pitchFamily="2" charset="2"/>
              <a:buChar char="§"/>
            </a:pPr>
            <a:r>
              <a:rPr lang="en-US" sz="900">
                <a:solidFill>
                  <a:schemeClr val="tx1"/>
                </a:solidFill>
                <a:latin typeface="+mj-lt"/>
              </a:rPr>
              <a:t>Content Headings: 12</a:t>
            </a:r>
          </a:p>
          <a:p>
            <a:pPr marL="171450" indent="-171450" algn="l">
              <a:buClr>
                <a:schemeClr val="accent1"/>
              </a:buClr>
              <a:buFont typeface="Wingdings" panose="05000000000000000000" pitchFamily="2" charset="2"/>
              <a:buChar char="§"/>
            </a:pPr>
            <a:r>
              <a:rPr lang="en-US" sz="900">
                <a:solidFill>
                  <a:schemeClr val="tx1"/>
                </a:solidFill>
                <a:latin typeface="+mj-lt"/>
              </a:rPr>
              <a:t>General: 9</a:t>
            </a:r>
          </a:p>
          <a:p>
            <a:pPr marL="171450" indent="-171450" algn="l">
              <a:buClr>
                <a:schemeClr val="accent1"/>
              </a:buClr>
              <a:buFont typeface="Wingdings" panose="05000000000000000000" pitchFamily="2" charset="2"/>
              <a:buChar char="§"/>
            </a:pPr>
            <a:r>
              <a:rPr lang="en-US" sz="900">
                <a:solidFill>
                  <a:schemeClr val="tx1"/>
                </a:solidFill>
                <a:latin typeface="+mj-lt"/>
              </a:rPr>
              <a:t>Graphs: 9</a:t>
            </a:r>
          </a:p>
          <a:p>
            <a:pPr algn="l"/>
            <a:endParaRPr lang="en-US" sz="900" b="1">
              <a:solidFill>
                <a:schemeClr val="tx1"/>
              </a:solidFill>
              <a:latin typeface="+mj-lt"/>
            </a:endParaRPr>
          </a:p>
          <a:p>
            <a:pPr algn="l"/>
            <a:r>
              <a:rPr lang="en-US" sz="900" b="1">
                <a:solidFill>
                  <a:schemeClr val="tx1"/>
                </a:solidFill>
                <a:latin typeface="+mj-lt"/>
              </a:rPr>
              <a:t>Dollar Notation</a:t>
            </a:r>
          </a:p>
          <a:p>
            <a:pPr marL="171450" indent="-171450" algn="l">
              <a:buClr>
                <a:schemeClr val="accent1"/>
              </a:buClr>
              <a:buFont typeface="Wingdings" panose="05000000000000000000" pitchFamily="2" charset="2"/>
              <a:buChar char="§"/>
            </a:pPr>
            <a:r>
              <a:rPr lang="en-US" sz="900">
                <a:solidFill>
                  <a:schemeClr val="tx1"/>
                </a:solidFill>
                <a:latin typeface="+mj-lt"/>
              </a:rPr>
              <a:t>General - $#mm and $#bn</a:t>
            </a:r>
          </a:p>
          <a:p>
            <a:pPr marL="171450" indent="-171450" algn="l">
              <a:buClr>
                <a:schemeClr val="accent1"/>
              </a:buClr>
              <a:buFont typeface="Wingdings" panose="05000000000000000000" pitchFamily="2" charset="2"/>
              <a:buChar char="§"/>
            </a:pPr>
            <a:r>
              <a:rPr lang="en-US" sz="900">
                <a:solidFill>
                  <a:schemeClr val="tx1"/>
                </a:solidFill>
                <a:latin typeface="+mj-lt"/>
              </a:rPr>
              <a:t>Currency - US$## and C$##</a:t>
            </a:r>
          </a:p>
          <a:p>
            <a:pPr marL="171450" indent="-171450" algn="l">
              <a:buClr>
                <a:schemeClr val="accent1"/>
              </a:buClr>
              <a:buFont typeface="Wingdings" panose="05000000000000000000" pitchFamily="2" charset="2"/>
              <a:buChar char="§"/>
            </a:pPr>
            <a:r>
              <a:rPr lang="en-US" sz="900">
                <a:solidFill>
                  <a:schemeClr val="tx1"/>
                </a:solidFill>
                <a:latin typeface="+mj-lt"/>
              </a:rPr>
              <a:t>Ranges - $#-#mm (and bn)</a:t>
            </a:r>
          </a:p>
          <a:p>
            <a:pPr marL="171450" indent="-171450" algn="l">
              <a:buClr>
                <a:schemeClr val="accent1"/>
              </a:buClr>
              <a:buFont typeface="Wingdings" panose="05000000000000000000" pitchFamily="2" charset="2"/>
              <a:buChar char="§"/>
            </a:pPr>
            <a:r>
              <a:rPr lang="en-US" sz="900">
                <a:solidFill>
                  <a:schemeClr val="tx1"/>
                </a:solidFill>
                <a:latin typeface="+mj-lt"/>
              </a:rPr>
              <a:t>1 decimal place, 2 for per share</a:t>
            </a:r>
          </a:p>
          <a:p>
            <a:pPr marL="171450" indent="-171450" algn="l">
              <a:buClr>
                <a:schemeClr val="accent1"/>
              </a:buClr>
              <a:buFont typeface="Wingdings" panose="05000000000000000000" pitchFamily="2" charset="2"/>
              <a:buChar char="§"/>
            </a:pPr>
            <a:r>
              <a:rPr lang="en-US" sz="900">
                <a:solidFill>
                  <a:schemeClr val="tx1"/>
                </a:solidFill>
                <a:latin typeface="+mj-lt"/>
              </a:rPr>
              <a:t>General - #,##0.0;(#,##0.0);-</a:t>
            </a:r>
          </a:p>
          <a:p>
            <a:pPr marL="171450" indent="-171450" algn="l">
              <a:buClr>
                <a:schemeClr val="accent1"/>
              </a:buClr>
              <a:buFont typeface="Wingdings" panose="05000000000000000000" pitchFamily="2" charset="2"/>
              <a:buChar char="§"/>
            </a:pPr>
            <a:endParaRPr lang="en-US" sz="900">
              <a:solidFill>
                <a:schemeClr val="tx1"/>
              </a:solidFill>
              <a:latin typeface="+mj-lt"/>
            </a:endParaRPr>
          </a:p>
          <a:p>
            <a:pPr marL="0" indent="0" algn="l">
              <a:buClr>
                <a:schemeClr val="accent1"/>
              </a:buClr>
              <a:buFont typeface="Wingdings" panose="05000000000000000000" pitchFamily="2" charset="2"/>
              <a:buNone/>
            </a:pPr>
            <a:r>
              <a:rPr lang="en-US" sz="900" b="1">
                <a:solidFill>
                  <a:schemeClr val="tx1"/>
                </a:solidFill>
                <a:latin typeface="+mj-lt"/>
              </a:rPr>
              <a:t>Sources and Footnote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Mark footnote with </a:t>
            </a:r>
            <a:r>
              <a:rPr lang="en-US" sz="900" i="1" baseline="30000">
                <a:solidFill>
                  <a:schemeClr val="tx1"/>
                </a:solidFill>
                <a:latin typeface="+mj-lt"/>
              </a:rPr>
              <a:t>(#) </a:t>
            </a:r>
            <a:r>
              <a:rPr lang="en-US" sz="900" i="0" baseline="0">
                <a:solidFill>
                  <a:schemeClr val="tx1"/>
                </a:solidFill>
                <a:latin typeface="+mj-lt"/>
              </a:rPr>
              <a:t>in your tex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i="0" baseline="0">
                <a:solidFill>
                  <a:schemeClr val="tx1"/>
                </a:solidFill>
                <a:latin typeface="+mj-lt"/>
              </a:rPr>
              <a:t>Begin footnote with (#) in the footer and “Sources:” (even if there is only one source)</a:t>
            </a:r>
            <a:endParaRPr lang="en-US" sz="900" i="0" baseline="300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lways pt 7 font siz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Capitalized Cas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and” between 2</a:t>
            </a:r>
            <a:r>
              <a:rPr lang="en-US" sz="900" baseline="30000">
                <a:solidFill>
                  <a:schemeClr val="tx1"/>
                </a:solidFill>
                <a:latin typeface="+mj-lt"/>
              </a:rPr>
              <a:t>nd</a:t>
            </a:r>
            <a:r>
              <a:rPr lang="en-US" sz="900">
                <a:solidFill>
                  <a:schemeClr val="tx1"/>
                </a:solidFill>
                <a:latin typeface="+mj-lt"/>
              </a:rPr>
              <a:t> last and last sourc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i.e. (1) Sources: Bloomberg</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90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900" b="1">
                <a:solidFill>
                  <a:schemeClr val="tx1"/>
                </a:solidFill>
                <a:latin typeface="+mj-lt"/>
              </a:rPr>
              <a:t>Charts and Graphs:</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llow font, size, and </a:t>
            </a:r>
            <a:r>
              <a:rPr lang="en-US" sz="900" err="1">
                <a:solidFill>
                  <a:schemeClr val="tx1"/>
                </a:solidFill>
                <a:latin typeface="+mj-lt"/>
              </a:rPr>
              <a:t>colour</a:t>
            </a:r>
            <a:r>
              <a:rPr lang="en-US" sz="900">
                <a:solidFill>
                  <a:schemeClr val="tx1"/>
                </a:solidFill>
                <a:latin typeface="+mj-lt"/>
              </a:rPr>
              <a:t> formats mentioned abov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Follow number notations abov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Use </a:t>
            </a:r>
            <a:r>
              <a:rPr lang="en-US" sz="900" err="1">
                <a:solidFill>
                  <a:schemeClr val="tx1"/>
                </a:solidFill>
                <a:latin typeface="+mj-lt"/>
              </a:rPr>
              <a:t>TFSIGcolours</a:t>
            </a:r>
            <a:endParaRPr lang="en-US" sz="900">
              <a:solidFill>
                <a:schemeClr val="tx1"/>
              </a:solidFill>
              <a:latin typeface="+mj-lt"/>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lines – Black</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Axis tick marks – major and outside</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900">
                <a:solidFill>
                  <a:schemeClr val="tx1"/>
                </a:solidFill>
                <a:latin typeface="+mj-lt"/>
              </a:rPr>
              <a:t>No horizontal or vertical lines (default grey ones)</a:t>
            </a:r>
          </a:p>
        </p:txBody>
      </p:sp>
    </p:spTree>
    <p:extLst>
      <p:ext uri="{BB962C8B-B14F-4D97-AF65-F5344CB8AC3E}">
        <p14:creationId xmlns:p14="http://schemas.microsoft.com/office/powerpoint/2010/main" val="108896749"/>
      </p:ext>
    </p:extLst>
  </p:cSld>
  <p:clrMap bg1="lt1" tx1="dk1" bg2="lt2" tx2="dk2" accent1="accent1" accent2="accent2" accent3="accent3" accent4="accent4" accent5="accent5" accent6="accent6" hlink="hlink" folHlink="folHlink"/>
  <p:sldLayoutIdLst>
    <p:sldLayoutId id="2147483702" r:id="rId1"/>
    <p:sldLayoutId id="2147483707" r:id="rId2"/>
  </p:sldLayoutIdLst>
  <p:txStyles>
    <p:titleStyle>
      <a:lvl1pPr algn="l" defTabSz="914400" rtl="0" eaLnBrk="1" latinLnBrk="0" hangingPunct="1">
        <a:lnSpc>
          <a:spcPct val="100000"/>
        </a:lnSpc>
        <a:spcBef>
          <a:spcPct val="0"/>
        </a:spcBef>
        <a:buNone/>
        <a:defRPr sz="2000" kern="1200">
          <a:solidFill>
            <a:schemeClr val="accent1"/>
          </a:solidFill>
          <a:latin typeface="+mj-lt"/>
          <a:ea typeface="+mj-ea"/>
          <a:cs typeface="Goldman Sans Bold" panose="020B0803020203020204" pitchFamily="34" charset="0"/>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microsoft.com/office/2018/10/relationships/comments" Target="../comments/modernComment_1B2_36C863C3.xml"/><Relationship Id="rId1" Type="http://schemas.openxmlformats.org/officeDocument/2006/relationships/slideLayout" Target="../slideLayouts/slideLayout4.xml"/><Relationship Id="rId4" Type="http://schemas.openxmlformats.org/officeDocument/2006/relationships/chart" Target="../charts/char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microsoft.com/office/2018/10/relationships/comments" Target="../comments/modernComment_1B1_6D9D658B.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microsoft.com/office/2018/10/relationships/comments" Target="../comments/modernComment_115_9BC3CC5B.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microsoft.com/office/2018/10/relationships/comments" Target="../comments/modernComment_116_D51F26B7.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4.png"/><Relationship Id="rId5" Type="http://schemas.openxmlformats.org/officeDocument/2006/relationships/chart" Target="../charts/chart12.xml"/><Relationship Id="rId4" Type="http://schemas.openxmlformats.org/officeDocument/2006/relationships/chart" Target="../charts/char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chart" Target="../charts/char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ags" Target="../tags/tag6.xml"/><Relationship Id="rId5" Type="http://schemas.openxmlformats.org/officeDocument/2006/relationships/chart" Target="../charts/chart1.xml"/><Relationship Id="rId4" Type="http://schemas.microsoft.com/office/2018/10/relationships/comments" Target="../comments/modernComment_19B_848837AC.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11E_42B1A721.xml"/><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5.png"/><Relationship Id="rId5" Type="http://schemas.microsoft.com/office/2014/relationships/chartEx" Target="../charts/chartEx2.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microsoft.com/office/2018/10/relationships/comments" Target="../comments/modernComment_1A9_A322723D.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microsoft.com/office/2018/10/relationships/comments" Target="../comments/modernComment_1B0_61AEB8FE.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3.png"/><Relationship Id="rId5" Type="http://schemas.microsoft.com/office/2014/relationships/chartEx" Target="../charts/chartEx1.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microsoft.com/office/2018/10/relationships/comments" Target="../comments/modernComment_1AB_FE6E8340.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microsoft.com/office/2018/10/relationships/comments" Target="../comments/modernComment_1AD_1A3A4A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microsoft.com/office/2018/10/relationships/comments" Target="../comments/modernComment_1AE_6F744570.xml"/><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chart" Target="../charts/chart6.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769D28-0B1C-9CF8-FADD-EFF9A63C121C}"/>
              </a:ext>
            </a:extLst>
          </p:cNvPr>
          <p:cNvSpPr>
            <a:spLocks noGrp="1"/>
          </p:cNvSpPr>
          <p:nvPr>
            <p:ph type="title"/>
          </p:nvPr>
        </p:nvSpPr>
        <p:spPr/>
        <p:txBody>
          <a:bodyPr/>
          <a:lstStyle/>
          <a:p>
            <a:r>
              <a:rPr lang="en-CA" err="1">
                <a:solidFill>
                  <a:srgbClr val="0F3557"/>
                </a:solidFill>
                <a:ea typeface="+mj-lt"/>
                <a:cs typeface="+mj-lt"/>
              </a:rPr>
              <a:t>Addus</a:t>
            </a:r>
            <a:r>
              <a:rPr lang="en-CA">
                <a:solidFill>
                  <a:srgbClr val="0F3557"/>
                </a:solidFill>
                <a:ea typeface="+mj-lt"/>
                <a:cs typeface="+mj-lt"/>
              </a:rPr>
              <a:t> Homecare Corporation (NASDAQ: ADUS)</a:t>
            </a:r>
            <a:endParaRPr lang="en-US"/>
          </a:p>
        </p:txBody>
      </p:sp>
      <p:sp>
        <p:nvSpPr>
          <p:cNvPr id="3" name="Text Placeholder 2">
            <a:extLst>
              <a:ext uri="{FF2B5EF4-FFF2-40B4-BE49-F238E27FC236}">
                <a16:creationId xmlns:a16="http://schemas.microsoft.com/office/drawing/2014/main" id="{200357EC-706D-F526-E2B7-59D8DC6B99DD}"/>
              </a:ext>
            </a:extLst>
          </p:cNvPr>
          <p:cNvSpPr>
            <a:spLocks noGrp="1"/>
          </p:cNvSpPr>
          <p:nvPr>
            <p:ph type="body" sz="quarter" idx="18"/>
          </p:nvPr>
        </p:nvSpPr>
        <p:spPr/>
        <p:txBody>
          <a:bodyPr/>
          <a:lstStyle/>
          <a:p>
            <a:r>
              <a:rPr lang="en-CA"/>
              <a:t>TMTH Coverage Group</a:t>
            </a:r>
          </a:p>
        </p:txBody>
      </p:sp>
      <p:sp>
        <p:nvSpPr>
          <p:cNvPr id="4" name="Text Placeholder 3">
            <a:extLst>
              <a:ext uri="{FF2B5EF4-FFF2-40B4-BE49-F238E27FC236}">
                <a16:creationId xmlns:a16="http://schemas.microsoft.com/office/drawing/2014/main" id="{059AA5E6-AF72-A4BD-7DEA-60D1FFFBA0FE}"/>
              </a:ext>
            </a:extLst>
          </p:cNvPr>
          <p:cNvSpPr>
            <a:spLocks noGrp="1"/>
          </p:cNvSpPr>
          <p:nvPr>
            <p:ph type="body" sz="quarter" idx="19"/>
          </p:nvPr>
        </p:nvSpPr>
        <p:spPr/>
        <p:txBody>
          <a:bodyPr/>
          <a:lstStyle/>
          <a:p>
            <a:r>
              <a:rPr lang="en-CA"/>
              <a:t>December 2</a:t>
            </a:r>
            <a:r>
              <a:rPr lang="en-CA" baseline="30000"/>
              <a:t>nd</a:t>
            </a:r>
            <a:r>
              <a:rPr lang="en-CA"/>
              <a:t>, 2024</a:t>
            </a:r>
          </a:p>
        </p:txBody>
      </p:sp>
      <p:pic>
        <p:nvPicPr>
          <p:cNvPr id="1026" name="Picture 2" descr="Addus HomeCare Announces Definitive Agreement to Acquire Personal Care  Operations of Gentiva | Business Wire">
            <a:extLst>
              <a:ext uri="{FF2B5EF4-FFF2-40B4-BE49-F238E27FC236}">
                <a16:creationId xmlns:a16="http://schemas.microsoft.com/office/drawing/2014/main" id="{CBCEF9EF-FB67-18C2-0A6C-7450A99818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71652" y="6033473"/>
            <a:ext cx="1556234" cy="813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67339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B5D056-5513-0133-DE10-7ACE1D066D3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6BFAADD-79BB-B402-D4C0-0E8C263A47A9}"/>
              </a:ext>
            </a:extLst>
          </p:cNvPr>
          <p:cNvSpPr>
            <a:spLocks noGrp="1"/>
          </p:cNvSpPr>
          <p:nvPr>
            <p:ph type="body" sz="quarter" idx="13"/>
          </p:nvPr>
        </p:nvSpPr>
        <p:spPr/>
        <p:txBody>
          <a:bodyPr/>
          <a:lstStyle/>
          <a:p>
            <a:r>
              <a:rPr lang="en-US">
                <a:cs typeface="Arial"/>
              </a:rPr>
              <a:t>Sources: Statista, Grand View Research, IBISWorld</a:t>
            </a:r>
          </a:p>
          <a:p>
            <a:endParaRPr lang="en-US"/>
          </a:p>
        </p:txBody>
      </p:sp>
      <p:sp>
        <p:nvSpPr>
          <p:cNvPr id="3" name="Text Placeholder 2">
            <a:extLst>
              <a:ext uri="{FF2B5EF4-FFF2-40B4-BE49-F238E27FC236}">
                <a16:creationId xmlns:a16="http://schemas.microsoft.com/office/drawing/2014/main" id="{40273CE1-3882-A928-CDD6-2A8A4B241CA4}"/>
              </a:ext>
            </a:extLst>
          </p:cNvPr>
          <p:cNvSpPr>
            <a:spLocks noGrp="1"/>
          </p:cNvSpPr>
          <p:nvPr>
            <p:ph type="body" sz="quarter" idx="21"/>
          </p:nvPr>
        </p:nvSpPr>
        <p:spPr/>
        <p:txBody>
          <a:bodyPr/>
          <a:lstStyle/>
          <a:p>
            <a:r>
              <a:rPr lang="en-US"/>
              <a:t>A growing and fragmented market provides headroom for growth and consolidation.</a:t>
            </a:r>
          </a:p>
        </p:txBody>
      </p:sp>
      <p:sp>
        <p:nvSpPr>
          <p:cNvPr id="4" name="Title 3">
            <a:extLst>
              <a:ext uri="{FF2B5EF4-FFF2-40B4-BE49-F238E27FC236}">
                <a16:creationId xmlns:a16="http://schemas.microsoft.com/office/drawing/2014/main" id="{D426A1D7-5396-E4B9-183E-4C6F2E8A71DF}"/>
              </a:ext>
            </a:extLst>
          </p:cNvPr>
          <p:cNvSpPr>
            <a:spLocks noGrp="1"/>
          </p:cNvSpPr>
          <p:nvPr>
            <p:ph type="title"/>
          </p:nvPr>
        </p:nvSpPr>
        <p:spPr/>
        <p:txBody>
          <a:bodyPr/>
          <a:lstStyle/>
          <a:p>
            <a:r>
              <a:rPr lang="en-US">
                <a:cs typeface="Arial"/>
              </a:rPr>
              <a:t>Assessing Competitive Landscape</a:t>
            </a:r>
            <a:endParaRPr lang="en-US" b="0">
              <a:solidFill>
                <a:srgbClr val="000000"/>
              </a:solidFill>
              <a:cs typeface="Arial"/>
            </a:endParaRPr>
          </a:p>
        </p:txBody>
      </p:sp>
      <p:sp>
        <p:nvSpPr>
          <p:cNvPr id="5" name="Text Placeholder 4">
            <a:extLst>
              <a:ext uri="{FF2B5EF4-FFF2-40B4-BE49-F238E27FC236}">
                <a16:creationId xmlns:a16="http://schemas.microsoft.com/office/drawing/2014/main" id="{C0F0ACD0-5369-C94E-3AFF-3F362F71579A}"/>
              </a:ext>
            </a:extLst>
          </p:cNvPr>
          <p:cNvSpPr>
            <a:spLocks noGrp="1"/>
          </p:cNvSpPr>
          <p:nvPr>
            <p:ph type="body" idx="22"/>
          </p:nvPr>
        </p:nvSpPr>
        <p:spPr/>
        <p:txBody>
          <a:bodyPr/>
          <a:lstStyle/>
          <a:p>
            <a:r>
              <a:rPr lang="en-US"/>
              <a:t>Key Players in the U.S. Home Healthcare Market</a:t>
            </a:r>
          </a:p>
        </p:txBody>
      </p:sp>
      <p:sp>
        <p:nvSpPr>
          <p:cNvPr id="6" name="Content Placeholder 5">
            <a:extLst>
              <a:ext uri="{FF2B5EF4-FFF2-40B4-BE49-F238E27FC236}">
                <a16:creationId xmlns:a16="http://schemas.microsoft.com/office/drawing/2014/main" id="{92918DE4-4751-1348-C015-E74B14357185}"/>
              </a:ext>
            </a:extLst>
          </p:cNvPr>
          <p:cNvSpPr>
            <a:spLocks noGrp="1"/>
          </p:cNvSpPr>
          <p:nvPr>
            <p:ph sz="quarter" idx="23"/>
          </p:nvPr>
        </p:nvSpPr>
        <p:spPr/>
        <p:txBody>
          <a:bodyPr vert="horz" lIns="91440" tIns="45720" rIns="91440" bIns="45720" rtlCol="0" anchor="t">
            <a:normAutofit lnSpcReduction="10000"/>
          </a:bodyPr>
          <a:lstStyle/>
          <a:p>
            <a:pPr marL="0" indent="0">
              <a:buNone/>
            </a:pPr>
            <a:r>
              <a:rPr lang="en-US" b="1">
                <a:ea typeface="+mj-lt"/>
                <a:cs typeface="+mj-lt"/>
              </a:rPr>
              <a:t>Institutional Care Providers:</a:t>
            </a:r>
            <a:endParaRPr lang="en-US"/>
          </a:p>
          <a:p>
            <a:r>
              <a:rPr lang="en-US">
                <a:ea typeface="+mj-lt"/>
                <a:cs typeface="+mj-lt"/>
              </a:rPr>
              <a:t>Skilled Nursing Facilities compete directly with home healthcare by providing 24/7 care in institutional settings. These facilities are often chosen for patients requiring intensive post-acute or rehabilitative care.</a:t>
            </a:r>
            <a:endParaRPr lang="en-US"/>
          </a:p>
          <a:p>
            <a:r>
              <a:rPr lang="en-US">
                <a:ea typeface="+mj-lt"/>
                <a:cs typeface="+mj-lt"/>
              </a:rPr>
              <a:t>Assisted Living Facilities offer a hybrid model of independent living with support services, catering to seniors who may not yet require full-time medical care.</a:t>
            </a:r>
          </a:p>
          <a:p>
            <a:pPr marL="0" indent="0">
              <a:buNone/>
            </a:pPr>
            <a:r>
              <a:rPr lang="en-US" b="1">
                <a:ea typeface="+mj-lt"/>
                <a:cs typeface="+mj-lt"/>
              </a:rPr>
              <a:t>Hospitals and Rehab Centers:</a:t>
            </a:r>
            <a:endParaRPr lang="en-US"/>
          </a:p>
          <a:p>
            <a:r>
              <a:rPr lang="en-US">
                <a:ea typeface="+mj-lt"/>
                <a:cs typeface="+mj-lt"/>
              </a:rPr>
              <a:t>Provide short-term post-hospitalization care, competing with home healthcare for rehabilitation services but at a significantly higher cost.</a:t>
            </a:r>
            <a:endParaRPr lang="en-US"/>
          </a:p>
          <a:p>
            <a:r>
              <a:rPr lang="en-US">
                <a:ea typeface="+mj-lt"/>
                <a:cs typeface="+mj-lt"/>
              </a:rPr>
              <a:t>Some hospitals are expanding into at-home programs, leveraging telehealth and in-home care to compete with traditional home health agencies.</a:t>
            </a:r>
            <a:endParaRPr lang="en-US"/>
          </a:p>
          <a:p>
            <a:endParaRPr lang="en-US"/>
          </a:p>
        </p:txBody>
      </p:sp>
      <p:sp>
        <p:nvSpPr>
          <p:cNvPr id="7" name="Text Placeholder 6">
            <a:extLst>
              <a:ext uri="{FF2B5EF4-FFF2-40B4-BE49-F238E27FC236}">
                <a16:creationId xmlns:a16="http://schemas.microsoft.com/office/drawing/2014/main" id="{D374EE66-D0B8-609F-B420-F3D90DF595F9}"/>
              </a:ext>
            </a:extLst>
          </p:cNvPr>
          <p:cNvSpPr>
            <a:spLocks noGrp="1"/>
          </p:cNvSpPr>
          <p:nvPr>
            <p:ph type="body" idx="26"/>
          </p:nvPr>
        </p:nvSpPr>
        <p:spPr/>
        <p:txBody>
          <a:bodyPr/>
          <a:lstStyle/>
          <a:p>
            <a:r>
              <a:rPr lang="en-US"/>
              <a:t>Key Competitors in the Industry</a:t>
            </a:r>
          </a:p>
        </p:txBody>
      </p:sp>
      <p:sp>
        <p:nvSpPr>
          <p:cNvPr id="8" name="Text Placeholder 7">
            <a:extLst>
              <a:ext uri="{FF2B5EF4-FFF2-40B4-BE49-F238E27FC236}">
                <a16:creationId xmlns:a16="http://schemas.microsoft.com/office/drawing/2014/main" id="{A8F06A7F-C66A-BE1B-93B9-3C95D1B0551E}"/>
              </a:ext>
            </a:extLst>
          </p:cNvPr>
          <p:cNvSpPr>
            <a:spLocks noGrp="1"/>
          </p:cNvSpPr>
          <p:nvPr>
            <p:ph type="body" idx="27"/>
          </p:nvPr>
        </p:nvSpPr>
        <p:spPr/>
        <p:txBody>
          <a:bodyPr>
            <a:normAutofit lnSpcReduction="10000"/>
          </a:bodyPr>
          <a:lstStyle/>
          <a:p>
            <a:pPr>
              <a:lnSpc>
                <a:spcPct val="110000"/>
              </a:lnSpc>
            </a:pPr>
            <a:r>
              <a:rPr lang="en-US"/>
              <a:t>Distribution of U.S. Long-Term Care Providers</a:t>
            </a:r>
          </a:p>
        </p:txBody>
      </p:sp>
      <p:sp>
        <p:nvSpPr>
          <p:cNvPr id="9" name="Content Placeholder 8">
            <a:extLst>
              <a:ext uri="{FF2B5EF4-FFF2-40B4-BE49-F238E27FC236}">
                <a16:creationId xmlns:a16="http://schemas.microsoft.com/office/drawing/2014/main" id="{B016ADAA-8F0A-59CA-FA6C-3D22EE444CF9}"/>
              </a:ext>
            </a:extLst>
          </p:cNvPr>
          <p:cNvSpPr>
            <a:spLocks noGrp="1"/>
          </p:cNvSpPr>
          <p:nvPr>
            <p:ph sz="quarter" idx="28"/>
          </p:nvPr>
        </p:nvSpPr>
        <p:spPr/>
        <p:txBody>
          <a:bodyPr vert="horz" lIns="91440" tIns="45720" rIns="91440" bIns="45720" rtlCol="0" anchor="t">
            <a:normAutofit/>
          </a:bodyPr>
          <a:lstStyle/>
          <a:p>
            <a:r>
              <a:rPr lang="en-US" b="1">
                <a:ea typeface="+mj-lt"/>
                <a:cs typeface="+mj-lt"/>
              </a:rPr>
              <a:t>Chemed: </a:t>
            </a:r>
            <a:r>
              <a:rPr lang="en-US">
                <a:ea typeface="+mj-lt"/>
                <a:cs typeface="+mj-lt"/>
              </a:rPr>
              <a:t>Major provider of hospice and palliative care services, operating through its VITAS Healthcare segment.</a:t>
            </a:r>
          </a:p>
          <a:p>
            <a:r>
              <a:rPr lang="en-US" b="1">
                <a:ea typeface="+mj-lt"/>
                <a:cs typeface="+mj-lt"/>
              </a:rPr>
              <a:t>Option Care Health: </a:t>
            </a:r>
            <a:r>
              <a:rPr lang="en-US">
                <a:ea typeface="+mj-lt"/>
                <a:cs typeface="+mj-lt"/>
              </a:rPr>
              <a:t>Leading provider of home and alternate site infusion services in the United States. Known for anti-infective therapies, home parenteral nutrition, and treatments for chronic conditions.</a:t>
            </a:r>
          </a:p>
          <a:p>
            <a:r>
              <a:rPr lang="en-US" b="1" err="1">
                <a:ea typeface="+mj-lt"/>
                <a:cs typeface="+mj-lt"/>
              </a:rPr>
              <a:t>BrightSpring</a:t>
            </a:r>
            <a:r>
              <a:rPr lang="en-US" b="1">
                <a:ea typeface="+mj-lt"/>
                <a:cs typeface="+mj-lt"/>
              </a:rPr>
              <a:t> Health Services: </a:t>
            </a:r>
            <a:r>
              <a:rPr lang="en-US">
                <a:ea typeface="+mj-lt"/>
                <a:cs typeface="+mj-lt"/>
              </a:rPr>
              <a:t>Major provider of home health, hospice, and non-medical home care services. Known for comprehensive care solutions and support for individuals with chronic conditions.</a:t>
            </a:r>
          </a:p>
          <a:p>
            <a:r>
              <a:rPr lang="en-US" b="1">
                <a:ea typeface="+mj-lt"/>
                <a:cs typeface="+mj-lt"/>
              </a:rPr>
              <a:t>Amedisys: </a:t>
            </a:r>
            <a:r>
              <a:rPr lang="en-US">
                <a:ea typeface="+mj-lt"/>
                <a:cs typeface="+mj-lt"/>
              </a:rPr>
              <a:t>Major provider of home health and hospice services, operating across multiple states. Known for skilled nursing and therapy services.</a:t>
            </a:r>
          </a:p>
          <a:p>
            <a:endParaRPr lang="en-US">
              <a:highlight>
                <a:srgbClr val="FFFF00"/>
              </a:highlight>
            </a:endParaRPr>
          </a:p>
          <a:p>
            <a:endParaRPr lang="en-US"/>
          </a:p>
        </p:txBody>
      </p:sp>
      <p:graphicFrame>
        <p:nvGraphicFramePr>
          <p:cNvPr id="21" name="Content Placeholder 20">
            <a:extLst>
              <a:ext uri="{FF2B5EF4-FFF2-40B4-BE49-F238E27FC236}">
                <a16:creationId xmlns:a16="http://schemas.microsoft.com/office/drawing/2014/main" id="{353B6797-2FFA-1EF4-3F91-C7710BFE23FB}"/>
              </a:ext>
            </a:extLst>
          </p:cNvPr>
          <p:cNvGraphicFramePr>
            <a:graphicFrameLocks noGrp="1"/>
          </p:cNvGraphicFramePr>
          <p:nvPr>
            <p:ph sz="quarter" idx="30"/>
            <p:extLst>
              <p:ext uri="{D42A27DB-BD31-4B8C-83A1-F6EECF244321}">
                <p14:modId xmlns:p14="http://schemas.microsoft.com/office/powerpoint/2010/main" val="904752567"/>
              </p:ext>
            </p:extLst>
          </p:nvPr>
        </p:nvGraphicFramePr>
        <p:xfrm>
          <a:off x="4751388" y="4014788"/>
          <a:ext cx="4141787" cy="217805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Placeholder 11">
            <a:extLst>
              <a:ext uri="{FF2B5EF4-FFF2-40B4-BE49-F238E27FC236}">
                <a16:creationId xmlns:a16="http://schemas.microsoft.com/office/drawing/2014/main" id="{F9AC5734-4512-986C-F61B-2E399E29EF04}"/>
              </a:ext>
            </a:extLst>
          </p:cNvPr>
          <p:cNvSpPr>
            <a:spLocks noGrp="1"/>
          </p:cNvSpPr>
          <p:nvPr>
            <p:ph type="body" idx="31"/>
          </p:nvPr>
        </p:nvSpPr>
        <p:spPr/>
        <p:txBody>
          <a:bodyPr/>
          <a:lstStyle/>
          <a:p>
            <a:r>
              <a:rPr lang="en-US"/>
              <a:t>Homecare Market Share</a:t>
            </a:r>
          </a:p>
        </p:txBody>
      </p:sp>
      <p:graphicFrame>
        <p:nvGraphicFramePr>
          <p:cNvPr id="18" name="Content Placeholder 17">
            <a:extLst>
              <a:ext uri="{FF2B5EF4-FFF2-40B4-BE49-F238E27FC236}">
                <a16:creationId xmlns:a16="http://schemas.microsoft.com/office/drawing/2014/main" id="{89D011BB-FF10-5B16-E185-B8080C4064AE}"/>
              </a:ext>
            </a:extLst>
          </p:cNvPr>
          <p:cNvGraphicFramePr>
            <a:graphicFrameLocks noGrp="1"/>
          </p:cNvGraphicFramePr>
          <p:nvPr>
            <p:ph sz="quarter" idx="29"/>
            <p:extLst>
              <p:ext uri="{D42A27DB-BD31-4B8C-83A1-F6EECF244321}">
                <p14:modId xmlns:p14="http://schemas.microsoft.com/office/powerpoint/2010/main" val="931045387"/>
              </p:ext>
            </p:extLst>
          </p:nvPr>
        </p:nvGraphicFramePr>
        <p:xfrm>
          <a:off x="250825" y="4014788"/>
          <a:ext cx="4141788" cy="2178050"/>
        </p:xfrm>
        <a:graphic>
          <a:graphicData uri="http://schemas.openxmlformats.org/drawingml/2006/chart">
            <c:chart xmlns:c="http://schemas.openxmlformats.org/drawingml/2006/chart" xmlns:r="http://schemas.openxmlformats.org/officeDocument/2006/relationships" r:id="rId4"/>
          </a:graphicData>
        </a:graphic>
      </p:graphicFrame>
      <p:cxnSp>
        <p:nvCxnSpPr>
          <p:cNvPr id="13" name="Straight Connector 12">
            <a:extLst>
              <a:ext uri="{FF2B5EF4-FFF2-40B4-BE49-F238E27FC236}">
                <a16:creationId xmlns:a16="http://schemas.microsoft.com/office/drawing/2014/main" id="{ED2DA06E-D72A-29FF-4671-BE46E23BE1F8}"/>
              </a:ext>
            </a:extLst>
          </p:cNvPr>
          <p:cNvCxnSpPr>
            <a:cxnSpLocks/>
          </p:cNvCxnSpPr>
          <p:nvPr/>
        </p:nvCxnSpPr>
        <p:spPr>
          <a:xfrm flipH="1">
            <a:off x="5881421" y="5766647"/>
            <a:ext cx="336499"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D177CD3-10F8-135E-77E7-8013B453DE84}"/>
              </a:ext>
            </a:extLst>
          </p:cNvPr>
          <p:cNvCxnSpPr>
            <a:cxnSpLocks/>
          </p:cNvCxnSpPr>
          <p:nvPr/>
        </p:nvCxnSpPr>
        <p:spPr>
          <a:xfrm flipH="1" flipV="1">
            <a:off x="7133166" y="4220633"/>
            <a:ext cx="701414" cy="1"/>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984DC83-0ACA-2537-EC07-A8AD95869460}"/>
              </a:ext>
            </a:extLst>
          </p:cNvPr>
          <p:cNvSpPr txBox="1"/>
          <p:nvPr/>
        </p:nvSpPr>
        <p:spPr>
          <a:xfrm>
            <a:off x="7834580" y="4105218"/>
            <a:ext cx="833966" cy="230832"/>
          </a:xfrm>
          <a:prstGeom prst="rect">
            <a:avLst/>
          </a:prstGeom>
          <a:noFill/>
          <a:ln w="12700">
            <a:solidFill>
              <a:schemeClr val="tx2"/>
            </a:solidFill>
          </a:ln>
        </p:spPr>
        <p:txBody>
          <a:bodyPr wrap="square" rtlCol="0">
            <a:spAutoFit/>
          </a:bodyPr>
          <a:lstStyle/>
          <a:p>
            <a:pPr algn="ctr"/>
            <a:r>
              <a:rPr lang="en-CA" sz="900" err="1"/>
              <a:t>Addus</a:t>
            </a:r>
            <a:r>
              <a:rPr lang="en-CA" sz="900"/>
              <a:t> - 1%</a:t>
            </a:r>
          </a:p>
        </p:txBody>
      </p:sp>
      <p:sp>
        <p:nvSpPr>
          <p:cNvPr id="19" name="TextBox 18">
            <a:extLst>
              <a:ext uri="{FF2B5EF4-FFF2-40B4-BE49-F238E27FC236}">
                <a16:creationId xmlns:a16="http://schemas.microsoft.com/office/drawing/2014/main" id="{72F19FEE-0413-54BD-E43A-E0263B56685F}"/>
              </a:ext>
            </a:extLst>
          </p:cNvPr>
          <p:cNvSpPr txBox="1"/>
          <p:nvPr/>
        </p:nvSpPr>
        <p:spPr>
          <a:xfrm>
            <a:off x="5047455" y="5635965"/>
            <a:ext cx="833966" cy="230832"/>
          </a:xfrm>
          <a:prstGeom prst="rect">
            <a:avLst/>
          </a:prstGeom>
          <a:noFill/>
          <a:ln w="12700">
            <a:solidFill>
              <a:schemeClr val="tx2"/>
            </a:solidFill>
          </a:ln>
        </p:spPr>
        <p:txBody>
          <a:bodyPr wrap="square" rtlCol="0">
            <a:spAutoFit/>
          </a:bodyPr>
          <a:lstStyle/>
          <a:p>
            <a:pPr algn="ctr"/>
            <a:r>
              <a:rPr lang="en-CA" sz="900"/>
              <a:t>Other – 94%</a:t>
            </a:r>
          </a:p>
        </p:txBody>
      </p:sp>
    </p:spTree>
    <p:extLst>
      <p:ext uri="{BB962C8B-B14F-4D97-AF65-F5344CB8AC3E}">
        <p14:creationId xmlns:p14="http://schemas.microsoft.com/office/powerpoint/2010/main" val="919102403"/>
      </p:ext>
    </p:extLst>
  </p:cSld>
  <p:clrMapOvr>
    <a:masterClrMapping/>
  </p:clrMapOvr>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10EE12-89D1-0B9B-15C5-6E030ECC6F19}"/>
              </a:ext>
            </a:extLst>
          </p:cNvPr>
          <p:cNvSpPr>
            <a:spLocks noGrp="1"/>
          </p:cNvSpPr>
          <p:nvPr>
            <p:ph type="title"/>
          </p:nvPr>
        </p:nvSpPr>
        <p:spPr/>
        <p:txBody>
          <a:bodyPr/>
          <a:lstStyle/>
          <a:p>
            <a:r>
              <a:rPr lang="en-CA"/>
              <a:t>C. Risks &amp; Catalysts</a:t>
            </a:r>
          </a:p>
        </p:txBody>
      </p:sp>
      <p:sp>
        <p:nvSpPr>
          <p:cNvPr id="3" name="Text Placeholder 2">
            <a:extLst>
              <a:ext uri="{FF2B5EF4-FFF2-40B4-BE49-F238E27FC236}">
                <a16:creationId xmlns:a16="http://schemas.microsoft.com/office/drawing/2014/main" id="{5D39A22E-0C42-4E4A-2D52-31CE9E23BCF5}"/>
              </a:ext>
            </a:extLst>
          </p:cNvPr>
          <p:cNvSpPr>
            <a:spLocks noGrp="1"/>
          </p:cNvSpPr>
          <p:nvPr>
            <p:ph type="body" sz="quarter" idx="18"/>
          </p:nvPr>
        </p:nvSpPr>
        <p:spPr/>
        <p:txBody>
          <a:bodyPr/>
          <a:lstStyle/>
          <a:p>
            <a:endParaRPr lang="en-CA"/>
          </a:p>
        </p:txBody>
      </p:sp>
      <p:sp>
        <p:nvSpPr>
          <p:cNvPr id="6" name="Text Placeholder 5">
            <a:extLst>
              <a:ext uri="{FF2B5EF4-FFF2-40B4-BE49-F238E27FC236}">
                <a16:creationId xmlns:a16="http://schemas.microsoft.com/office/drawing/2014/main" id="{CF82257A-6840-3247-7273-A1AFE3C5FD3B}"/>
              </a:ext>
            </a:extLst>
          </p:cNvPr>
          <p:cNvSpPr>
            <a:spLocks noGrp="1"/>
          </p:cNvSpPr>
          <p:nvPr>
            <p:ph type="body" sz="quarter" idx="19"/>
          </p:nvPr>
        </p:nvSpPr>
        <p:spPr/>
        <p:txBody>
          <a:bodyPr/>
          <a:lstStyle/>
          <a:p>
            <a:endParaRPr lang="en-CA"/>
          </a:p>
        </p:txBody>
      </p:sp>
    </p:spTree>
    <p:extLst>
      <p:ext uri="{BB962C8B-B14F-4D97-AF65-F5344CB8AC3E}">
        <p14:creationId xmlns:p14="http://schemas.microsoft.com/office/powerpoint/2010/main" val="29514411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Content Placeholder 18">
            <a:extLst>
              <a:ext uri="{FF2B5EF4-FFF2-40B4-BE49-F238E27FC236}">
                <a16:creationId xmlns:a16="http://schemas.microsoft.com/office/drawing/2014/main" id="{91E382C8-D1D6-0137-71F7-90796332BB90}"/>
              </a:ext>
            </a:extLst>
          </p:cNvPr>
          <p:cNvGraphicFramePr>
            <a:graphicFrameLocks noChangeAspect="1"/>
          </p:cNvGraphicFramePr>
          <p:nvPr/>
        </p:nvGraphicFramePr>
        <p:xfrm>
          <a:off x="563206" y="1362608"/>
          <a:ext cx="3096519" cy="3102417"/>
        </p:xfrm>
        <a:graphic>
          <a:graphicData uri="http://schemas.openxmlformats.org/drawingml/2006/table">
            <a:tbl>
              <a:tblPr firstRow="1" bandRow="1">
                <a:tableStyleId>{5C22544A-7EE6-4342-B048-85BDC9FD1C3A}</a:tableStyleId>
              </a:tblPr>
              <a:tblGrid>
                <a:gridCol w="1032173">
                  <a:extLst>
                    <a:ext uri="{9D8B030D-6E8A-4147-A177-3AD203B41FA5}">
                      <a16:colId xmlns:a16="http://schemas.microsoft.com/office/drawing/2014/main" val="1859733070"/>
                    </a:ext>
                  </a:extLst>
                </a:gridCol>
                <a:gridCol w="1032173">
                  <a:extLst>
                    <a:ext uri="{9D8B030D-6E8A-4147-A177-3AD203B41FA5}">
                      <a16:colId xmlns:a16="http://schemas.microsoft.com/office/drawing/2014/main" val="348163456"/>
                    </a:ext>
                  </a:extLst>
                </a:gridCol>
                <a:gridCol w="1032173">
                  <a:extLst>
                    <a:ext uri="{9D8B030D-6E8A-4147-A177-3AD203B41FA5}">
                      <a16:colId xmlns:a16="http://schemas.microsoft.com/office/drawing/2014/main" val="3984668456"/>
                    </a:ext>
                  </a:extLst>
                </a:gridCol>
              </a:tblGrid>
              <a:tr h="1034139">
                <a:tc>
                  <a:txBody>
                    <a:bodyPr/>
                    <a:lstStyle/>
                    <a:p>
                      <a:endParaRPr lang="en-CA" sz="1300"/>
                    </a:p>
                  </a:txBody>
                  <a:tcPr marL="68442" marR="68442" marT="34221" marB="34221">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CA" sz="1300"/>
                    </a:p>
                  </a:txBody>
                  <a:tcPr marL="68442" marR="68442" marT="34221" marB="34221">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CA" sz="1300"/>
                    </a:p>
                  </a:txBody>
                  <a:tcPr marL="68442" marR="68442" marT="34221" marB="34221">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9488977"/>
                  </a:ext>
                </a:extLst>
              </a:tr>
              <a:tr h="1034139">
                <a:tc>
                  <a:txBody>
                    <a:bodyPr/>
                    <a:lstStyle/>
                    <a:p>
                      <a:endParaRPr lang="en-CA" sz="1300"/>
                    </a:p>
                  </a:txBody>
                  <a:tcPr marL="68442" marR="68442" marT="34221" marB="34221">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CA" sz="1300"/>
                    </a:p>
                  </a:txBody>
                  <a:tcPr marL="68442" marR="68442" marT="34221" marB="34221">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endParaRPr lang="en-CA" sz="1300"/>
                    </a:p>
                  </a:txBody>
                  <a:tcPr marL="68442" marR="68442" marT="34221" marB="34221">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6204102"/>
                  </a:ext>
                </a:extLst>
              </a:tr>
              <a:tr h="1034139">
                <a:tc>
                  <a:txBody>
                    <a:bodyPr/>
                    <a:lstStyle/>
                    <a:p>
                      <a:endParaRPr lang="en-CA" sz="1300"/>
                    </a:p>
                  </a:txBody>
                  <a:tcPr marL="68442" marR="68442" marT="34221" marB="34221">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300"/>
                    </a:p>
                  </a:txBody>
                  <a:tcPr marL="68442" marR="68442" marT="34221" marB="34221">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300"/>
                    </a:p>
                  </a:txBody>
                  <a:tcPr marL="68442" marR="68442" marT="34221" marB="34221">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270958"/>
                  </a:ext>
                </a:extLst>
              </a:tr>
            </a:tbl>
          </a:graphicData>
        </a:graphic>
      </p:graphicFrame>
      <p:sp>
        <p:nvSpPr>
          <p:cNvPr id="2" name="Text Placeholder 1">
            <a:extLst>
              <a:ext uri="{FF2B5EF4-FFF2-40B4-BE49-F238E27FC236}">
                <a16:creationId xmlns:a16="http://schemas.microsoft.com/office/drawing/2014/main" id="{D509BB0B-4477-2B23-85B4-4BC6073C2CDF}"/>
              </a:ext>
            </a:extLst>
          </p:cNvPr>
          <p:cNvSpPr>
            <a:spLocks noGrp="1"/>
          </p:cNvSpPr>
          <p:nvPr>
            <p:ph type="body" sz="quarter" idx="13"/>
          </p:nvPr>
        </p:nvSpPr>
        <p:spPr/>
        <p:txBody>
          <a:bodyPr/>
          <a:lstStyle/>
          <a:p>
            <a:r>
              <a:rPr lang="en-CA" sz="700"/>
              <a:t>Sources: </a:t>
            </a:r>
            <a:r>
              <a:rPr lang="en-CA" sz="700" err="1"/>
              <a:t>Addus</a:t>
            </a:r>
            <a:r>
              <a:rPr lang="en-CA" sz="700"/>
              <a:t> Homecare 10-K, Oppenheimer &amp; Co, RBC Capital Markets</a:t>
            </a:r>
          </a:p>
        </p:txBody>
      </p:sp>
      <p:sp>
        <p:nvSpPr>
          <p:cNvPr id="7" name="Text Placeholder 6">
            <a:extLst>
              <a:ext uri="{FF2B5EF4-FFF2-40B4-BE49-F238E27FC236}">
                <a16:creationId xmlns:a16="http://schemas.microsoft.com/office/drawing/2014/main" id="{588E85CF-3DF0-F67D-7685-EE384A084801}"/>
              </a:ext>
            </a:extLst>
          </p:cNvPr>
          <p:cNvSpPr>
            <a:spLocks noGrp="1"/>
          </p:cNvSpPr>
          <p:nvPr>
            <p:ph type="body" sz="quarter" idx="21"/>
          </p:nvPr>
        </p:nvSpPr>
        <p:spPr/>
        <p:txBody>
          <a:bodyPr vert="horz" lIns="91440" tIns="45720" rIns="91440" bIns="45720" rtlCol="0" anchor="t">
            <a:normAutofit/>
          </a:bodyPr>
          <a:lstStyle/>
          <a:p>
            <a:r>
              <a:rPr lang="en-US"/>
              <a:t>Navigating Risks: The road ahead for </a:t>
            </a:r>
            <a:r>
              <a:rPr lang="en-US" err="1"/>
              <a:t>Addus</a:t>
            </a:r>
            <a:r>
              <a:rPr lang="en-US"/>
              <a:t> Homecare in the homecare industry.</a:t>
            </a:r>
          </a:p>
        </p:txBody>
      </p:sp>
      <p:sp>
        <p:nvSpPr>
          <p:cNvPr id="8" name="Title 7">
            <a:extLst>
              <a:ext uri="{FF2B5EF4-FFF2-40B4-BE49-F238E27FC236}">
                <a16:creationId xmlns:a16="http://schemas.microsoft.com/office/drawing/2014/main" id="{B916DC0D-9BE8-6A75-AA01-C093459FBF85}"/>
              </a:ext>
            </a:extLst>
          </p:cNvPr>
          <p:cNvSpPr>
            <a:spLocks noGrp="1"/>
          </p:cNvSpPr>
          <p:nvPr>
            <p:ph type="title"/>
          </p:nvPr>
        </p:nvSpPr>
        <p:spPr/>
        <p:txBody>
          <a:bodyPr/>
          <a:lstStyle/>
          <a:p>
            <a:r>
              <a:rPr lang="en-US">
                <a:cs typeface="Arial"/>
              </a:rPr>
              <a:t>Risks and Potential Mitigants</a:t>
            </a:r>
          </a:p>
        </p:txBody>
      </p:sp>
      <p:graphicFrame>
        <p:nvGraphicFramePr>
          <p:cNvPr id="9" name="Table 8">
            <a:extLst>
              <a:ext uri="{FF2B5EF4-FFF2-40B4-BE49-F238E27FC236}">
                <a16:creationId xmlns:a16="http://schemas.microsoft.com/office/drawing/2014/main" id="{3165235C-75C7-B1FD-4877-9CA4A6AFDA82}"/>
              </a:ext>
            </a:extLst>
          </p:cNvPr>
          <p:cNvGraphicFramePr>
            <a:graphicFrameLocks/>
          </p:cNvGraphicFramePr>
          <p:nvPr/>
        </p:nvGraphicFramePr>
        <p:xfrm>
          <a:off x="250825" y="1015999"/>
          <a:ext cx="3428556" cy="288925"/>
        </p:xfrm>
        <a:graphic>
          <a:graphicData uri="http://schemas.openxmlformats.org/drawingml/2006/table">
            <a:tbl>
              <a:tblPr firstRow="1" bandRow="1">
                <a:tableStyleId>{5C22544A-7EE6-4342-B048-85BDC9FD1C3A}</a:tableStyleId>
              </a:tblPr>
              <a:tblGrid>
                <a:gridCol w="3428556">
                  <a:extLst>
                    <a:ext uri="{9D8B030D-6E8A-4147-A177-3AD203B41FA5}">
                      <a16:colId xmlns:a16="http://schemas.microsoft.com/office/drawing/2014/main" val="3437084154"/>
                    </a:ext>
                  </a:extLst>
                </a:gridCol>
              </a:tblGrid>
              <a:tr h="288925">
                <a:tc>
                  <a:txBody>
                    <a:bodyPr/>
                    <a:lstStyle/>
                    <a:p>
                      <a:r>
                        <a:rPr lang="en-US" sz="1200" b="1">
                          <a:solidFill>
                            <a:schemeClr val="tx2"/>
                          </a:solidFill>
                        </a:rPr>
                        <a:t>Risk Matrix</a:t>
                      </a:r>
                      <a:endParaRPr lang="en-CA" sz="1300" b="1">
                        <a:solidFill>
                          <a:schemeClr val="tx2"/>
                        </a:solidFill>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27" name="TextBox 26">
            <a:extLst>
              <a:ext uri="{FF2B5EF4-FFF2-40B4-BE49-F238E27FC236}">
                <a16:creationId xmlns:a16="http://schemas.microsoft.com/office/drawing/2014/main" id="{6F16ED45-41B7-2DC5-753D-CE3AD2BF88BB}"/>
              </a:ext>
            </a:extLst>
          </p:cNvPr>
          <p:cNvSpPr txBox="1"/>
          <p:nvPr/>
        </p:nvSpPr>
        <p:spPr>
          <a:xfrm>
            <a:off x="1153367" y="4963796"/>
            <a:ext cx="1960098" cy="253916"/>
          </a:xfrm>
          <a:prstGeom prst="rect">
            <a:avLst/>
          </a:prstGeom>
          <a:noFill/>
        </p:spPr>
        <p:txBody>
          <a:bodyPr wrap="square" rtlCol="0" anchor="ctr">
            <a:spAutoFit/>
          </a:bodyPr>
          <a:lstStyle/>
          <a:p>
            <a:pPr algn="ctr"/>
            <a:r>
              <a:rPr lang="en-US" sz="1050"/>
              <a:t>Mitigation Feasibility</a:t>
            </a:r>
            <a:endParaRPr lang="en-CA" sz="1050"/>
          </a:p>
        </p:txBody>
      </p:sp>
      <p:sp>
        <p:nvSpPr>
          <p:cNvPr id="32" name="Rectangle 31">
            <a:extLst>
              <a:ext uri="{FF2B5EF4-FFF2-40B4-BE49-F238E27FC236}">
                <a16:creationId xmlns:a16="http://schemas.microsoft.com/office/drawing/2014/main" id="{5D3804B2-8A2C-F873-2DAA-C71C2EB11911}"/>
              </a:ext>
            </a:extLst>
          </p:cNvPr>
          <p:cNvSpPr/>
          <p:nvPr/>
        </p:nvSpPr>
        <p:spPr>
          <a:xfrm>
            <a:off x="782970" y="5343550"/>
            <a:ext cx="509371" cy="5093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33" name="Rectangle 32">
            <a:extLst>
              <a:ext uri="{FF2B5EF4-FFF2-40B4-BE49-F238E27FC236}">
                <a16:creationId xmlns:a16="http://schemas.microsoft.com/office/drawing/2014/main" id="{A1757EE6-4A34-A978-C1CC-F7E430A00588}"/>
              </a:ext>
            </a:extLst>
          </p:cNvPr>
          <p:cNvSpPr/>
          <p:nvPr/>
        </p:nvSpPr>
        <p:spPr>
          <a:xfrm>
            <a:off x="1523765" y="5343550"/>
            <a:ext cx="509371" cy="509371"/>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34" name="Rectangle 33">
            <a:extLst>
              <a:ext uri="{FF2B5EF4-FFF2-40B4-BE49-F238E27FC236}">
                <a16:creationId xmlns:a16="http://schemas.microsoft.com/office/drawing/2014/main" id="{F260EEB8-3E89-2E03-C12A-719C62B3778F}"/>
              </a:ext>
            </a:extLst>
          </p:cNvPr>
          <p:cNvSpPr/>
          <p:nvPr/>
        </p:nvSpPr>
        <p:spPr>
          <a:xfrm>
            <a:off x="2249128" y="5343550"/>
            <a:ext cx="509371" cy="509371"/>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35" name="Rectangle 34">
            <a:extLst>
              <a:ext uri="{FF2B5EF4-FFF2-40B4-BE49-F238E27FC236}">
                <a16:creationId xmlns:a16="http://schemas.microsoft.com/office/drawing/2014/main" id="{676D22EC-51C8-A4A0-550B-0E6D952198F6}"/>
              </a:ext>
            </a:extLst>
          </p:cNvPr>
          <p:cNvSpPr/>
          <p:nvPr/>
        </p:nvSpPr>
        <p:spPr>
          <a:xfrm>
            <a:off x="2974492" y="5343550"/>
            <a:ext cx="509371" cy="509371"/>
          </a:xfrm>
          <a:prstGeom prst="rect">
            <a:avLst/>
          </a:prstGeom>
          <a:solidFill>
            <a:schemeClr val="accent4">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38" name="TextBox 37">
            <a:extLst>
              <a:ext uri="{FF2B5EF4-FFF2-40B4-BE49-F238E27FC236}">
                <a16:creationId xmlns:a16="http://schemas.microsoft.com/office/drawing/2014/main" id="{56D9F1FA-6B89-509E-319C-0CEDE58B3237}"/>
              </a:ext>
            </a:extLst>
          </p:cNvPr>
          <p:cNvSpPr txBox="1"/>
          <p:nvPr/>
        </p:nvSpPr>
        <p:spPr>
          <a:xfrm>
            <a:off x="576046" y="5852920"/>
            <a:ext cx="914400" cy="253916"/>
          </a:xfrm>
          <a:prstGeom prst="rect">
            <a:avLst/>
          </a:prstGeom>
          <a:noFill/>
        </p:spPr>
        <p:txBody>
          <a:bodyPr wrap="square" rtlCol="0" anchor="ctr">
            <a:spAutoFit/>
          </a:bodyPr>
          <a:lstStyle/>
          <a:p>
            <a:pPr algn="ctr"/>
            <a:r>
              <a:rPr lang="en-US" sz="1050"/>
              <a:t>Easy</a:t>
            </a:r>
            <a:endParaRPr lang="en-CA" sz="1050"/>
          </a:p>
        </p:txBody>
      </p:sp>
      <p:sp>
        <p:nvSpPr>
          <p:cNvPr id="39" name="TextBox 38">
            <a:extLst>
              <a:ext uri="{FF2B5EF4-FFF2-40B4-BE49-F238E27FC236}">
                <a16:creationId xmlns:a16="http://schemas.microsoft.com/office/drawing/2014/main" id="{270559AB-CBA0-58B0-2A83-9E9FE16C61D3}"/>
              </a:ext>
            </a:extLst>
          </p:cNvPr>
          <p:cNvSpPr txBox="1"/>
          <p:nvPr/>
        </p:nvSpPr>
        <p:spPr>
          <a:xfrm>
            <a:off x="2973967" y="5852920"/>
            <a:ext cx="509370" cy="253916"/>
          </a:xfrm>
          <a:prstGeom prst="rect">
            <a:avLst/>
          </a:prstGeom>
          <a:noFill/>
        </p:spPr>
        <p:txBody>
          <a:bodyPr wrap="square" rtlCol="0" anchor="ctr">
            <a:spAutoFit/>
          </a:bodyPr>
          <a:lstStyle/>
          <a:p>
            <a:pPr algn="ctr"/>
            <a:r>
              <a:rPr lang="en-US" sz="1050"/>
              <a:t>Hard</a:t>
            </a:r>
            <a:endParaRPr lang="en-CA" sz="1050"/>
          </a:p>
        </p:txBody>
      </p:sp>
      <p:graphicFrame>
        <p:nvGraphicFramePr>
          <p:cNvPr id="43" name="Table 42">
            <a:extLst>
              <a:ext uri="{FF2B5EF4-FFF2-40B4-BE49-F238E27FC236}">
                <a16:creationId xmlns:a16="http://schemas.microsoft.com/office/drawing/2014/main" id="{9C8BE00B-4A37-A415-40F3-D297AFE329DB}"/>
              </a:ext>
            </a:extLst>
          </p:cNvPr>
          <p:cNvGraphicFramePr>
            <a:graphicFrameLocks/>
          </p:cNvGraphicFramePr>
          <p:nvPr>
            <p:extLst>
              <p:ext uri="{D42A27DB-BD31-4B8C-83A1-F6EECF244321}">
                <p14:modId xmlns:p14="http://schemas.microsoft.com/office/powerpoint/2010/main" val="927680892"/>
              </p:ext>
            </p:extLst>
          </p:nvPr>
        </p:nvGraphicFramePr>
        <p:xfrm>
          <a:off x="4043706" y="993461"/>
          <a:ext cx="4849469" cy="5217145"/>
        </p:xfrm>
        <a:graphic>
          <a:graphicData uri="http://schemas.openxmlformats.org/drawingml/2006/table">
            <a:tbl>
              <a:tblPr firstRow="1" bandRow="1">
                <a:tableStyleId>{5C22544A-7EE6-4342-B048-85BDC9FD1C3A}</a:tableStyleId>
              </a:tblPr>
              <a:tblGrid>
                <a:gridCol w="1204569">
                  <a:extLst>
                    <a:ext uri="{9D8B030D-6E8A-4147-A177-3AD203B41FA5}">
                      <a16:colId xmlns:a16="http://schemas.microsoft.com/office/drawing/2014/main" val="3437084154"/>
                    </a:ext>
                  </a:extLst>
                </a:gridCol>
                <a:gridCol w="1771650">
                  <a:extLst>
                    <a:ext uri="{9D8B030D-6E8A-4147-A177-3AD203B41FA5}">
                      <a16:colId xmlns:a16="http://schemas.microsoft.com/office/drawing/2014/main" val="3451369726"/>
                    </a:ext>
                  </a:extLst>
                </a:gridCol>
                <a:gridCol w="1873250">
                  <a:extLst>
                    <a:ext uri="{9D8B030D-6E8A-4147-A177-3AD203B41FA5}">
                      <a16:colId xmlns:a16="http://schemas.microsoft.com/office/drawing/2014/main" val="3443802811"/>
                    </a:ext>
                  </a:extLst>
                </a:gridCol>
              </a:tblGrid>
              <a:tr h="277510">
                <a:tc>
                  <a:txBody>
                    <a:bodyPr/>
                    <a:lstStyle/>
                    <a:p>
                      <a:pPr lvl="0">
                        <a:buNone/>
                      </a:pPr>
                      <a:r>
                        <a:rPr lang="en-US" sz="1200" b="1">
                          <a:solidFill>
                            <a:schemeClr val="accent1"/>
                          </a:solidFill>
                        </a:rPr>
                        <a:t>Risk Type</a:t>
                      </a:r>
                      <a:endParaRPr lang="en-US" sz="1200">
                        <a:solidFill>
                          <a:schemeClr val="accent1"/>
                        </a:solidFill>
                      </a:endParaRPr>
                    </a:p>
                  </a:txBody>
                  <a:tcPr>
                    <a:lnB w="9525" cap="flat" cmpd="sng" algn="ctr">
                      <a:solidFill>
                        <a:schemeClr val="accent1"/>
                      </a:solidFill>
                      <a:prstDash val="solid"/>
                      <a:round/>
                      <a:headEnd type="none" w="med" len="med"/>
                      <a:tailEnd type="none" w="med" len="med"/>
                    </a:lnB>
                    <a:noFill/>
                  </a:tcPr>
                </a:tc>
                <a:tc>
                  <a:txBody>
                    <a:bodyPr/>
                    <a:lstStyle/>
                    <a:p>
                      <a:pPr lvl="0">
                        <a:buNone/>
                      </a:pPr>
                      <a:r>
                        <a:rPr lang="en-US" sz="1200">
                          <a:solidFill>
                            <a:schemeClr val="accent1"/>
                          </a:solidFill>
                        </a:rPr>
                        <a:t>Key Risk</a:t>
                      </a:r>
                    </a:p>
                  </a:txBody>
                  <a:tcPr>
                    <a:lnB w="9525" cap="flat" cmpd="sng" algn="ctr">
                      <a:solidFill>
                        <a:schemeClr val="accent1"/>
                      </a:solidFill>
                      <a:prstDash val="solid"/>
                      <a:round/>
                      <a:headEnd type="none" w="med" len="med"/>
                      <a:tailEnd type="none" w="med" len="med"/>
                    </a:lnB>
                    <a:noFill/>
                  </a:tcPr>
                </a:tc>
                <a:tc>
                  <a:txBody>
                    <a:bodyPr/>
                    <a:lstStyle/>
                    <a:p>
                      <a:pPr lvl="0">
                        <a:buNone/>
                      </a:pPr>
                      <a:r>
                        <a:rPr lang="en-US" sz="1200">
                          <a:solidFill>
                            <a:schemeClr val="accent1"/>
                          </a:solidFill>
                        </a:rPr>
                        <a:t>Mitigation</a:t>
                      </a:r>
                    </a:p>
                  </a:txBody>
                  <a:tcPr>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795644604"/>
                  </a:ext>
                </a:extLst>
              </a:tr>
              <a:tr h="843251">
                <a:tc>
                  <a:txBody>
                    <a:bodyPr/>
                    <a:lstStyle/>
                    <a:p>
                      <a:pPr marL="0" algn="ctr" rtl="0" eaLnBrk="1" latinLnBrk="0" hangingPunct="1">
                        <a:spcBef>
                          <a:spcPts val="0"/>
                        </a:spcBef>
                        <a:spcAft>
                          <a:spcPts val="0"/>
                        </a:spcAft>
                      </a:pPr>
                      <a:r>
                        <a:rPr lang="en-US" sz="1000" b="1">
                          <a:solidFill>
                            <a:schemeClr val="bg1"/>
                          </a:solidFill>
                          <a:effectLst/>
                        </a:rPr>
                        <a:t>M&amp;A</a:t>
                      </a:r>
                    </a:p>
                  </a:txBody>
                  <a:tcPr marL="0" marR="0" marT="0" marB="0"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kern="1200">
                          <a:solidFill>
                            <a:srgbClr val="000000"/>
                          </a:solidFill>
                          <a:effectLst/>
                        </a:rPr>
                        <a:t>Failure to integrate acquisitions and achieve synergies</a:t>
                      </a:r>
                    </a:p>
                  </a:txBody>
                  <a:tcPr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3355" indent="-173355" algn="l" rtl="0" eaLnBrk="1" latinLnBrk="0" hangingPunct="1">
                        <a:spcBef>
                          <a:spcPts val="0"/>
                        </a:spcBef>
                        <a:spcAft>
                          <a:spcPts val="0"/>
                        </a:spcAft>
                        <a:buClr>
                          <a:schemeClr val="accent1"/>
                        </a:buClr>
                        <a:buSzPts val="1050"/>
                        <a:buFont typeface="Wingdings" panose="05000000000000000000" pitchFamily="2" charset="2"/>
                        <a:buChar char="§"/>
                      </a:pPr>
                      <a:r>
                        <a:rPr lang="en-US" sz="900" kern="1200">
                          <a:solidFill>
                            <a:schemeClr val="dk1"/>
                          </a:solidFill>
                          <a:latin typeface="+mn-lt"/>
                          <a:ea typeface="+mn-ea"/>
                          <a:cs typeface="+mn-cs"/>
                        </a:rPr>
                        <a:t>Proven track record with prior acquisitions (Ambercare, SunLife Home Care, Queen City Hospice)</a:t>
                      </a:r>
                    </a:p>
                  </a:txBody>
                  <a:tcPr anchor="ctr">
                    <a:lnL w="12700" cmpd="sng">
                      <a:noFill/>
                    </a:lnL>
                    <a:lnR w="12700" cmpd="sng">
                      <a:noFill/>
                    </a:lnR>
                    <a:lnT w="9525" cap="flat" cmpd="sng" algn="ctr">
                      <a:solidFill>
                        <a:schemeClr val="accent1"/>
                      </a:solidFill>
                      <a:prstDash val="solid"/>
                      <a:round/>
                      <a:headEnd type="none" w="med" len="med"/>
                      <a:tailEnd type="none" w="med" len="med"/>
                    </a:lnT>
                    <a:lnB w="9525"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446610"/>
                  </a:ext>
                </a:extLst>
              </a:tr>
              <a:tr h="2312576">
                <a:tc>
                  <a:txBody>
                    <a:bodyPr/>
                    <a:lstStyle/>
                    <a:p>
                      <a:pPr marL="0" lvl="0" algn="ctr">
                        <a:spcBef>
                          <a:spcPts val="0"/>
                        </a:spcBef>
                        <a:spcAft>
                          <a:spcPts val="0"/>
                        </a:spcAft>
                        <a:buNone/>
                      </a:pPr>
                      <a:r>
                        <a:rPr lang="en-US" sz="1000" b="1">
                          <a:solidFill>
                            <a:schemeClr val="bg1"/>
                          </a:solidFill>
                        </a:rPr>
                        <a:t>Regulatory Risk</a:t>
                      </a:r>
                    </a:p>
                  </a:txBody>
                  <a:tcPr marL="0" marR="0" marT="0" marB="0" anchor="ctr">
                    <a:lnL w="12700" cmpd="sng">
                      <a:noFill/>
                    </a:lnL>
                    <a:lnR w="12700" cmpd="sng">
                      <a:noFill/>
                    </a:lnR>
                    <a:lnT w="9525" cap="flat" cmpd="sng" algn="ctr">
                      <a:solidFill>
                        <a:schemeClr val="accent1"/>
                      </a:solidFill>
                      <a:prstDash val="dash"/>
                      <a:round/>
                      <a:headEnd type="none" w="med" len="med"/>
                      <a:tailEnd type="none" w="med" len="med"/>
                    </a:lnT>
                    <a:lnB w="9525"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228600" marR="0" lvl="0" indent="-228600" algn="l">
                        <a:lnSpc>
                          <a:spcPct val="100000"/>
                        </a:lnSpc>
                        <a:spcBef>
                          <a:spcPts val="0"/>
                        </a:spcBef>
                        <a:spcAft>
                          <a:spcPts val="0"/>
                        </a:spcAft>
                        <a:buClrTx/>
                        <a:buSzTx/>
                        <a:buFont typeface="+mj-lt"/>
                        <a:buAutoNum type="arabicPeriod" startAt="2"/>
                      </a:pPr>
                      <a:r>
                        <a:rPr lang="en-US" sz="900" b="0" i="0" u="none" strike="noStrike" kern="1200" noProof="0">
                          <a:solidFill>
                            <a:srgbClr val="000000"/>
                          </a:solidFill>
                          <a:effectLst/>
                        </a:rPr>
                        <a:t>Changes in Medicare/Medicaid reimbursement policies exposes Addus to funding risks</a:t>
                      </a:r>
                    </a:p>
                    <a:p>
                      <a:pPr marL="228600" marR="0" lvl="0" indent="-228600" algn="l">
                        <a:lnSpc>
                          <a:spcPct val="100000"/>
                        </a:lnSpc>
                        <a:spcBef>
                          <a:spcPts val="0"/>
                        </a:spcBef>
                        <a:spcAft>
                          <a:spcPts val="0"/>
                        </a:spcAft>
                        <a:buClrTx/>
                        <a:buSzTx/>
                        <a:buFont typeface="+mj-lt"/>
                        <a:buAutoNum type="arabicPeriod" startAt="2"/>
                      </a:pPr>
                      <a:r>
                        <a:rPr lang="en-US" sz="900" b="0" i="0" u="none" strike="noStrike" kern="1200" noProof="0">
                          <a:solidFill>
                            <a:srgbClr val="000000"/>
                          </a:solidFill>
                          <a:effectLst/>
                        </a:rPr>
                        <a:t>Increases in minimum wage in certain states without matching reimbursement will hurt margins</a:t>
                      </a:r>
                    </a:p>
                    <a:p>
                      <a:pPr marL="228600" marR="0" lvl="0" indent="-228600" algn="l">
                        <a:lnSpc>
                          <a:spcPct val="100000"/>
                        </a:lnSpc>
                        <a:spcBef>
                          <a:spcPts val="0"/>
                        </a:spcBef>
                        <a:spcAft>
                          <a:spcPts val="0"/>
                        </a:spcAft>
                        <a:buClrTx/>
                        <a:buSzTx/>
                        <a:buFont typeface="+mj-lt"/>
                        <a:buAutoNum type="arabicPeriod" startAt="2"/>
                      </a:pPr>
                      <a:r>
                        <a:rPr lang="en-US" sz="900" b="0" i="0" u="none" strike="noStrike" kern="1200" noProof="0">
                          <a:solidFill>
                            <a:srgbClr val="000000"/>
                          </a:solidFill>
                          <a:effectLst/>
                          <a:latin typeface="+mn-lt"/>
                        </a:rPr>
                        <a:t>Geographic revenue concentration in Illinois, New Mexico, and New York creates dependency</a:t>
                      </a:r>
                      <a:endParaRPr lang="en-US" sz="900" b="0" i="0" u="none" strike="noStrike" kern="1200" noProof="0">
                        <a:solidFill>
                          <a:srgbClr val="000000"/>
                        </a:solidFill>
                        <a:effectLst/>
                      </a:endParaRPr>
                    </a:p>
                  </a:txBody>
                  <a:tcPr anchor="ctr">
                    <a:lnL w="12700" cmpd="sng">
                      <a:noFill/>
                    </a:lnL>
                    <a:lnR w="12700" cmpd="sng">
                      <a:noFill/>
                    </a:lnR>
                    <a:lnT w="9525" cap="flat" cmpd="sng" algn="ctr">
                      <a:solidFill>
                        <a:schemeClr val="accent1"/>
                      </a:solidFill>
                      <a:prstDash val="dash"/>
                      <a:round/>
                      <a:headEnd type="none" w="med" len="med"/>
                      <a:tailEnd type="none" w="med" len="med"/>
                    </a:lnT>
                    <a:lnB w="9525"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rtl="0" eaLnBrk="1" fontAlgn="auto" latinLnBrk="0" hangingPunct="1">
                        <a:spcBef>
                          <a:spcPts val="0"/>
                        </a:spcBef>
                        <a:spcAft>
                          <a:spcPts val="0"/>
                        </a:spcAft>
                        <a:buClr>
                          <a:schemeClr val="accent1"/>
                        </a:buClr>
                        <a:buSzPts val="1050"/>
                        <a:buFont typeface="Wingdings" panose="05000000000000000000" pitchFamily="2" charset="2"/>
                        <a:buChar char="§"/>
                      </a:pPr>
                      <a:r>
                        <a:rPr lang="en-US" sz="900"/>
                        <a:t>Diversify payer base with </a:t>
                      </a:r>
                      <a:r>
                        <a:rPr lang="en-US" sz="900" b="0"/>
                        <a:t>Medicare Advantage plans</a:t>
                      </a:r>
                      <a:r>
                        <a:rPr lang="en-US" sz="900"/>
                        <a:t> and prioritize growth in Medicaid-friendly states with stable funding environments.</a:t>
                      </a:r>
                    </a:p>
                    <a:p>
                      <a:pPr marL="171450" marR="0" indent="-171450" algn="l" rtl="0" eaLnBrk="1" fontAlgn="auto" latinLnBrk="0" hangingPunct="1">
                        <a:spcBef>
                          <a:spcPts val="0"/>
                        </a:spcBef>
                        <a:spcAft>
                          <a:spcPts val="0"/>
                        </a:spcAft>
                        <a:buClr>
                          <a:schemeClr val="accent1"/>
                        </a:buClr>
                        <a:buSzPts val="1050"/>
                        <a:buFont typeface="Wingdings" panose="05000000000000000000" pitchFamily="2" charset="2"/>
                        <a:buChar char="§"/>
                      </a:pPr>
                      <a:r>
                        <a:rPr lang="en-US" sz="900"/>
                        <a:t>Optimize operational efficiency through technology, expand into Medicaid-responsive states, and explore performance-based contracts with managed care organizations</a:t>
                      </a:r>
                    </a:p>
                    <a:p>
                      <a:pPr marL="171450" marR="0" lvl="0" indent="-171450" algn="l" defTabSz="914400" rtl="0" eaLnBrk="1" fontAlgn="auto" latinLnBrk="0" hangingPunct="1">
                        <a:lnSpc>
                          <a:spcPct val="100000"/>
                        </a:lnSpc>
                        <a:spcBef>
                          <a:spcPts val="0"/>
                        </a:spcBef>
                        <a:spcAft>
                          <a:spcPts val="0"/>
                        </a:spcAft>
                        <a:buClr>
                          <a:schemeClr val="accent1"/>
                        </a:buClr>
                        <a:buSzPts val="1050"/>
                        <a:buFont typeface="Wingdings" panose="05000000000000000000" pitchFamily="2" charset="2"/>
                        <a:buChar char="§"/>
                        <a:tabLst/>
                        <a:defRPr/>
                      </a:pPr>
                      <a:r>
                        <a:rPr lang="en-US" sz="900"/>
                        <a:t>Expand geographic presence into new states to reduce concentration risk</a:t>
                      </a:r>
                    </a:p>
                    <a:p>
                      <a:pPr marL="171450" marR="0" indent="-171450" algn="l" rtl="0" eaLnBrk="1" fontAlgn="auto" latinLnBrk="0" hangingPunct="1">
                        <a:spcBef>
                          <a:spcPts val="0"/>
                        </a:spcBef>
                        <a:spcAft>
                          <a:spcPts val="0"/>
                        </a:spcAft>
                        <a:buClr>
                          <a:schemeClr val="accent1"/>
                        </a:buClr>
                        <a:buSzPts val="1050"/>
                        <a:buFont typeface="Arial" panose="020B0604020202020204" pitchFamily="34" charset="0"/>
                        <a:buChar char="•"/>
                      </a:pPr>
                      <a:endParaRPr lang="en-US" sz="900" kern="1200">
                        <a:solidFill>
                          <a:srgbClr val="000000"/>
                        </a:solidFill>
                        <a:effectLst/>
                      </a:endParaRPr>
                    </a:p>
                  </a:txBody>
                  <a:tcPr anchor="ctr">
                    <a:lnL w="12700" cmpd="sng">
                      <a:noFill/>
                    </a:lnL>
                    <a:lnR w="12700" cmpd="sng">
                      <a:noFill/>
                    </a:lnR>
                    <a:lnT w="9525" cap="flat" cmpd="sng" algn="ctr">
                      <a:solidFill>
                        <a:schemeClr val="accent1"/>
                      </a:solidFill>
                      <a:prstDash val="dash"/>
                      <a:round/>
                      <a:headEnd type="none" w="med" len="med"/>
                      <a:tailEnd type="none" w="med" len="med"/>
                    </a:lnT>
                    <a:lnB w="9525"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856401"/>
                  </a:ext>
                </a:extLst>
              </a:tr>
              <a:tr h="830135">
                <a:tc>
                  <a:txBody>
                    <a:bodyPr/>
                    <a:lstStyle/>
                    <a:p>
                      <a:pPr marL="0" lvl="0" algn="ctr">
                        <a:spcBef>
                          <a:spcPts val="0"/>
                        </a:spcBef>
                        <a:spcAft>
                          <a:spcPts val="0"/>
                        </a:spcAft>
                        <a:buNone/>
                      </a:pPr>
                      <a:r>
                        <a:rPr lang="en-US" sz="1000" b="1" kern="1200">
                          <a:solidFill>
                            <a:schemeClr val="bg1"/>
                          </a:solidFill>
                          <a:effectLst/>
                        </a:rPr>
                        <a:t>Labour Risk</a:t>
                      </a:r>
                    </a:p>
                  </a:txBody>
                  <a:tcPr marL="0" marR="0" marT="0" marB="0" anchor="ctr">
                    <a:lnL w="12700" cmpd="sng">
                      <a:noFill/>
                    </a:lnL>
                    <a:lnR w="12700" cmpd="sng">
                      <a:noFill/>
                    </a:lnR>
                    <a:lnT w="9525" cap="flat" cmpd="sng" algn="ctr">
                      <a:solidFill>
                        <a:schemeClr val="accent1"/>
                      </a:solidFill>
                      <a:prstDash val="dash"/>
                      <a:round/>
                      <a:headEnd type="none" w="med" len="med"/>
                      <a:tailEnd type="none" w="med" len="med"/>
                    </a:lnT>
                    <a:lnB w="9525"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228600" marR="0" lvl="0" indent="-228600" algn="l" rtl="0" eaLnBrk="1" fontAlgn="auto" latinLnBrk="0" hangingPunct="1">
                        <a:lnSpc>
                          <a:spcPct val="100000"/>
                        </a:lnSpc>
                        <a:spcBef>
                          <a:spcPts val="0"/>
                        </a:spcBef>
                        <a:spcAft>
                          <a:spcPts val="0"/>
                        </a:spcAft>
                        <a:buClrTx/>
                        <a:buSzTx/>
                        <a:buFont typeface="+mj-lt"/>
                        <a:buAutoNum type="arabicPeriod" startAt="5"/>
                      </a:pPr>
                      <a:r>
                        <a:rPr lang="en-US" sz="900" kern="1200">
                          <a:solidFill>
                            <a:srgbClr val="000000"/>
                          </a:solidFill>
                          <a:effectLst/>
                        </a:rPr>
                        <a:t>Skilled staff shortages could disrupt operations and increase costs</a:t>
                      </a:r>
                    </a:p>
                  </a:txBody>
                  <a:tcPr anchor="ctr">
                    <a:lnL w="12700" cmpd="sng">
                      <a:noFill/>
                    </a:lnL>
                    <a:lnR w="12700" cmpd="sng">
                      <a:noFill/>
                    </a:lnR>
                    <a:lnT w="9525" cap="flat" cmpd="sng" algn="ctr">
                      <a:solidFill>
                        <a:schemeClr val="accent1"/>
                      </a:solidFill>
                      <a:prstDash val="dash"/>
                      <a:round/>
                      <a:headEnd type="none" w="med" len="med"/>
                      <a:tailEnd type="none" w="med" len="med"/>
                    </a:lnT>
                    <a:lnB w="9525"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3355" lvl="0" indent="-173355" algn="l">
                        <a:spcBef>
                          <a:spcPts val="0"/>
                        </a:spcBef>
                        <a:spcAft>
                          <a:spcPts val="0"/>
                        </a:spcAft>
                        <a:buClr>
                          <a:srgbClr val="0F3557"/>
                        </a:buClr>
                        <a:buSzPts val="1050"/>
                        <a:buFont typeface="Wingdings" panose="05000000000000000000" pitchFamily="2" charset="2"/>
                        <a:buChar char="§"/>
                      </a:pPr>
                      <a:r>
                        <a:rPr lang="en-US" sz="900"/>
                        <a:t>Offer competitive compensation, expand recruitment efforts, and invest in training programs to reduce turnover.</a:t>
                      </a:r>
                      <a:endParaRPr lang="en-US" sz="900" b="0" i="0" u="none" strike="noStrike" kern="1200" noProof="0">
                        <a:solidFill>
                          <a:srgbClr val="000000"/>
                        </a:solidFill>
                        <a:effectLst/>
                      </a:endParaRPr>
                    </a:p>
                  </a:txBody>
                  <a:tcPr anchor="ctr">
                    <a:lnL w="12700" cmpd="sng">
                      <a:noFill/>
                    </a:lnL>
                    <a:lnR w="12700" cmpd="sng">
                      <a:noFill/>
                    </a:lnR>
                    <a:lnT w="9525" cap="flat" cmpd="sng" algn="ctr">
                      <a:solidFill>
                        <a:schemeClr val="accent1"/>
                      </a:solidFill>
                      <a:prstDash val="dash"/>
                      <a:round/>
                      <a:headEnd type="none" w="med" len="med"/>
                      <a:tailEnd type="none" w="med" len="med"/>
                    </a:lnT>
                    <a:lnB w="9525"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0542405"/>
                  </a:ext>
                </a:extLst>
              </a:tr>
              <a:tr h="953673">
                <a:tc>
                  <a:txBody>
                    <a:bodyPr/>
                    <a:lstStyle/>
                    <a:p>
                      <a:pPr marL="0" algn="ctr" rtl="0" eaLnBrk="1" latinLnBrk="0" hangingPunct="1">
                        <a:spcBef>
                          <a:spcPts val="0"/>
                        </a:spcBef>
                        <a:spcAft>
                          <a:spcPts val="0"/>
                        </a:spcAft>
                      </a:pPr>
                      <a:r>
                        <a:rPr lang="en-US" sz="1000" b="1">
                          <a:solidFill>
                            <a:schemeClr val="bg1"/>
                          </a:solidFill>
                          <a:effectLst/>
                        </a:rPr>
                        <a:t>Business-Specific  Risk</a:t>
                      </a:r>
                    </a:p>
                  </a:txBody>
                  <a:tcPr marL="0" marR="0" marT="0" marB="0" anchor="ctr">
                    <a:lnL w="12700" cmpd="sng">
                      <a:noFill/>
                    </a:lnL>
                    <a:lnR w="12700" cmpd="sng">
                      <a:noFill/>
                    </a:lnR>
                    <a:lnT w="9525" cap="flat" cmpd="sng" algn="ctr">
                      <a:solidFill>
                        <a:schemeClr val="accent1"/>
                      </a:solidFill>
                      <a:prstDash val="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28600" lvl="0" indent="-228600">
                        <a:buFont typeface="+mj-lt"/>
                        <a:buAutoNum type="arabicPeriod" startAt="6"/>
                      </a:pPr>
                      <a:r>
                        <a:rPr lang="en-US" sz="900" b="0" i="0" u="none" strike="noStrike" kern="1200" noProof="0">
                          <a:solidFill>
                            <a:srgbClr val="000000"/>
                          </a:solidFill>
                          <a:effectLst/>
                          <a:latin typeface="Arial"/>
                        </a:rPr>
                        <a:t>Reputation tied to personal care services could harm referrals</a:t>
                      </a:r>
                    </a:p>
                  </a:txBody>
                  <a:tcPr anchor="ctr">
                    <a:lnL w="12700" cmpd="sng">
                      <a:noFill/>
                    </a:lnL>
                    <a:lnR w="12700" cmpd="sng">
                      <a:noFill/>
                    </a:lnR>
                    <a:lnT w="9525" cap="flat" cmpd="sng" algn="ctr">
                      <a:solidFill>
                        <a:schemeClr val="accent1"/>
                      </a:solidFill>
                      <a:prstDash val="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355" indent="-173355" algn="l" rtl="0" eaLnBrk="1" latinLnBrk="0" hangingPunct="1">
                        <a:spcBef>
                          <a:spcPts val="0"/>
                        </a:spcBef>
                        <a:spcAft>
                          <a:spcPts val="0"/>
                        </a:spcAft>
                        <a:buClr>
                          <a:schemeClr val="accent1"/>
                        </a:buClr>
                        <a:buSzPts val="1050"/>
                        <a:buFont typeface="Wingdings" panose="05000000000000000000" pitchFamily="2" charset="2"/>
                        <a:buChar char="§"/>
                      </a:pPr>
                      <a:r>
                        <a:rPr lang="en-US" sz="900" kern="1200">
                          <a:solidFill>
                            <a:srgbClr val="000000"/>
                          </a:solidFill>
                          <a:effectLst/>
                        </a:rPr>
                        <a:t>Maintain strict quality control standards for caregivers, and monitor client satisfaction</a:t>
                      </a:r>
                    </a:p>
                  </a:txBody>
                  <a:tcPr anchor="ctr">
                    <a:lnL w="12700" cmpd="sng">
                      <a:noFill/>
                    </a:lnL>
                    <a:lnR w="12700" cmpd="sng">
                      <a:noFill/>
                    </a:lnR>
                    <a:lnT w="9525" cap="flat" cmpd="sng" algn="ctr">
                      <a:solidFill>
                        <a:schemeClr val="accent1"/>
                      </a:solidFill>
                      <a:prstDash val="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0463412"/>
                  </a:ext>
                </a:extLst>
              </a:tr>
            </a:tbl>
          </a:graphicData>
        </a:graphic>
      </p:graphicFrame>
      <p:cxnSp>
        <p:nvCxnSpPr>
          <p:cNvPr id="46" name="Straight Connector 45">
            <a:extLst>
              <a:ext uri="{FF2B5EF4-FFF2-40B4-BE49-F238E27FC236}">
                <a16:creationId xmlns:a16="http://schemas.microsoft.com/office/drawing/2014/main" id="{899FD135-055D-0416-2E4C-1AD7BD660664}"/>
              </a:ext>
            </a:extLst>
          </p:cNvPr>
          <p:cNvCxnSpPr>
            <a:cxnSpLocks/>
          </p:cNvCxnSpPr>
          <p:nvPr/>
        </p:nvCxnSpPr>
        <p:spPr>
          <a:xfrm>
            <a:off x="573450" y="5217712"/>
            <a:ext cx="310333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2A1D9FCC-EC66-4A7D-32B0-F83A162519F7}"/>
              </a:ext>
            </a:extLst>
          </p:cNvPr>
          <p:cNvCxnSpPr>
            <a:cxnSpLocks/>
          </p:cNvCxnSpPr>
          <p:nvPr/>
        </p:nvCxnSpPr>
        <p:spPr>
          <a:xfrm>
            <a:off x="588510" y="4551673"/>
            <a:ext cx="30965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C5D6567-9B40-A40B-7C5B-8D960255592A}"/>
              </a:ext>
            </a:extLst>
          </p:cNvPr>
          <p:cNvSpPr txBox="1"/>
          <p:nvPr/>
        </p:nvSpPr>
        <p:spPr>
          <a:xfrm>
            <a:off x="1679569" y="4551673"/>
            <a:ext cx="914400" cy="253916"/>
          </a:xfrm>
          <a:prstGeom prst="rect">
            <a:avLst/>
          </a:prstGeom>
          <a:noFill/>
        </p:spPr>
        <p:txBody>
          <a:bodyPr wrap="square" rtlCol="0">
            <a:spAutoFit/>
          </a:bodyPr>
          <a:lstStyle/>
          <a:p>
            <a:pPr algn="ctr"/>
            <a:r>
              <a:rPr lang="en-US" sz="1050"/>
              <a:t>Possibility</a:t>
            </a:r>
            <a:endParaRPr lang="en-CA" sz="1050"/>
          </a:p>
        </p:txBody>
      </p:sp>
      <p:sp>
        <p:nvSpPr>
          <p:cNvPr id="29" name="TextBox 28">
            <a:extLst>
              <a:ext uri="{FF2B5EF4-FFF2-40B4-BE49-F238E27FC236}">
                <a16:creationId xmlns:a16="http://schemas.microsoft.com/office/drawing/2014/main" id="{F8847198-379D-76E5-47A8-63897F58D478}"/>
              </a:ext>
            </a:extLst>
          </p:cNvPr>
          <p:cNvSpPr txBox="1"/>
          <p:nvPr/>
        </p:nvSpPr>
        <p:spPr>
          <a:xfrm rot="16200000">
            <a:off x="-109627" y="2772854"/>
            <a:ext cx="914400" cy="253916"/>
          </a:xfrm>
          <a:prstGeom prst="rect">
            <a:avLst/>
          </a:prstGeom>
          <a:noFill/>
        </p:spPr>
        <p:txBody>
          <a:bodyPr wrap="square" rtlCol="0">
            <a:spAutoFit/>
          </a:bodyPr>
          <a:lstStyle/>
          <a:p>
            <a:pPr algn="ctr"/>
            <a:r>
              <a:rPr lang="en-US" sz="1050"/>
              <a:t>Impact</a:t>
            </a:r>
            <a:endParaRPr lang="en-CA" sz="1050"/>
          </a:p>
        </p:txBody>
      </p:sp>
      <p:sp>
        <p:nvSpPr>
          <p:cNvPr id="30" name="Rectangle 29">
            <a:extLst>
              <a:ext uri="{FF2B5EF4-FFF2-40B4-BE49-F238E27FC236}">
                <a16:creationId xmlns:a16="http://schemas.microsoft.com/office/drawing/2014/main" id="{65F29D99-C21C-99B0-FA63-426F2E0432C3}"/>
              </a:ext>
            </a:extLst>
          </p:cNvPr>
          <p:cNvSpPr/>
          <p:nvPr/>
        </p:nvSpPr>
        <p:spPr>
          <a:xfrm>
            <a:off x="768860" y="2689046"/>
            <a:ext cx="305208" cy="305208"/>
          </a:xfrm>
          <a:prstGeom prst="rect">
            <a:avLst/>
          </a:prstGeom>
          <a:solidFill>
            <a:schemeClr val="accent2">
              <a:lumMod val="20000"/>
              <a:lumOff val="80000"/>
            </a:schemeClr>
          </a:solidFill>
          <a:ln w="28575">
            <a:solidFill>
              <a:srgbClr val="B7AF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1</a:t>
            </a:r>
            <a:endParaRPr lang="en-CA" sz="1050"/>
          </a:p>
        </p:txBody>
      </p:sp>
      <p:sp>
        <p:nvSpPr>
          <p:cNvPr id="31" name="Rectangle 30">
            <a:extLst>
              <a:ext uri="{FF2B5EF4-FFF2-40B4-BE49-F238E27FC236}">
                <a16:creationId xmlns:a16="http://schemas.microsoft.com/office/drawing/2014/main" id="{8C59E5B2-022D-4AB4-73F2-CAAF51EC0FE6}"/>
              </a:ext>
            </a:extLst>
          </p:cNvPr>
          <p:cNvSpPr/>
          <p:nvPr/>
        </p:nvSpPr>
        <p:spPr>
          <a:xfrm>
            <a:off x="1463379" y="1970962"/>
            <a:ext cx="305208" cy="305208"/>
          </a:xfrm>
          <a:prstGeom prst="rect">
            <a:avLst/>
          </a:prstGeom>
          <a:solidFill>
            <a:schemeClr val="accent2">
              <a:lumMod val="20000"/>
              <a:lumOff val="80000"/>
            </a:schemeClr>
          </a:solidFill>
          <a:ln w="28575">
            <a:solidFill>
              <a:srgbClr val="423E2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2</a:t>
            </a:r>
            <a:endParaRPr lang="en-CA" sz="1050"/>
          </a:p>
        </p:txBody>
      </p:sp>
      <p:sp>
        <p:nvSpPr>
          <p:cNvPr id="36" name="Rectangle 35">
            <a:extLst>
              <a:ext uri="{FF2B5EF4-FFF2-40B4-BE49-F238E27FC236}">
                <a16:creationId xmlns:a16="http://schemas.microsoft.com/office/drawing/2014/main" id="{640D61D7-C9AF-7F7D-0AE3-7E7CF61E6C0F}"/>
              </a:ext>
            </a:extLst>
          </p:cNvPr>
          <p:cNvSpPr/>
          <p:nvPr/>
        </p:nvSpPr>
        <p:spPr>
          <a:xfrm>
            <a:off x="2485997" y="1990057"/>
            <a:ext cx="305208" cy="305208"/>
          </a:xfrm>
          <a:prstGeom prst="rect">
            <a:avLst/>
          </a:prstGeom>
          <a:solidFill>
            <a:srgbClr val="0F3557"/>
          </a:solidFill>
          <a:ln w="28575">
            <a:solidFill>
              <a:srgbClr val="DDD9C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1050"/>
              <a:t>6</a:t>
            </a:r>
          </a:p>
        </p:txBody>
      </p:sp>
      <p:sp>
        <p:nvSpPr>
          <p:cNvPr id="37" name="Rectangle 36">
            <a:extLst>
              <a:ext uri="{FF2B5EF4-FFF2-40B4-BE49-F238E27FC236}">
                <a16:creationId xmlns:a16="http://schemas.microsoft.com/office/drawing/2014/main" id="{A02EE780-B119-198F-FE88-E3BB619545F1}"/>
              </a:ext>
            </a:extLst>
          </p:cNvPr>
          <p:cNvSpPr/>
          <p:nvPr/>
        </p:nvSpPr>
        <p:spPr>
          <a:xfrm>
            <a:off x="2485997" y="3799376"/>
            <a:ext cx="305208" cy="305208"/>
          </a:xfrm>
          <a:prstGeom prst="rect">
            <a:avLst/>
          </a:prstGeom>
          <a:solidFill>
            <a:schemeClr val="accent1">
              <a:lumMod val="40000"/>
              <a:lumOff val="60000"/>
            </a:schemeClr>
          </a:solidFill>
          <a:ln w="28575">
            <a:solidFill>
              <a:srgbClr val="423E2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3</a:t>
            </a:r>
            <a:endParaRPr lang="en-CA" sz="1050"/>
          </a:p>
        </p:txBody>
      </p:sp>
      <p:sp>
        <p:nvSpPr>
          <p:cNvPr id="40" name="Rectangle 39">
            <a:extLst>
              <a:ext uri="{FF2B5EF4-FFF2-40B4-BE49-F238E27FC236}">
                <a16:creationId xmlns:a16="http://schemas.microsoft.com/office/drawing/2014/main" id="{8B5CC70F-E81E-24D5-DAFC-C66E32D04200}"/>
              </a:ext>
            </a:extLst>
          </p:cNvPr>
          <p:cNvSpPr/>
          <p:nvPr/>
        </p:nvSpPr>
        <p:spPr>
          <a:xfrm>
            <a:off x="1443359" y="2711575"/>
            <a:ext cx="305208" cy="305208"/>
          </a:xfrm>
          <a:prstGeom prst="rect">
            <a:avLst/>
          </a:prstGeom>
          <a:solidFill>
            <a:schemeClr val="accent1">
              <a:lumMod val="60000"/>
              <a:lumOff val="40000"/>
            </a:schemeClr>
          </a:solidFill>
          <a:ln w="28575">
            <a:solidFill>
              <a:srgbClr val="B7AF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5</a:t>
            </a:r>
            <a:endParaRPr lang="en-CA" sz="1050"/>
          </a:p>
        </p:txBody>
      </p:sp>
      <p:sp>
        <p:nvSpPr>
          <p:cNvPr id="42" name="Rectangle 41">
            <a:extLst>
              <a:ext uri="{FF2B5EF4-FFF2-40B4-BE49-F238E27FC236}">
                <a16:creationId xmlns:a16="http://schemas.microsoft.com/office/drawing/2014/main" id="{3CA301D6-4EC3-F0E3-4A84-C0F947D3FE16}"/>
              </a:ext>
            </a:extLst>
          </p:cNvPr>
          <p:cNvSpPr/>
          <p:nvPr/>
        </p:nvSpPr>
        <p:spPr>
          <a:xfrm>
            <a:off x="1964386" y="2248160"/>
            <a:ext cx="305208" cy="305208"/>
          </a:xfrm>
          <a:prstGeom prst="rect">
            <a:avLst/>
          </a:prstGeom>
          <a:solidFill>
            <a:schemeClr val="accent1">
              <a:lumMod val="60000"/>
              <a:lumOff val="40000"/>
            </a:schemeClr>
          </a:solidFill>
          <a:ln w="28575">
            <a:solidFill>
              <a:srgbClr val="857C4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t>4</a:t>
            </a:r>
            <a:endParaRPr lang="en-CA" sz="1050"/>
          </a:p>
        </p:txBody>
      </p:sp>
      <p:cxnSp>
        <p:nvCxnSpPr>
          <p:cNvPr id="45" name="Straight Arrow Connector 44">
            <a:extLst>
              <a:ext uri="{FF2B5EF4-FFF2-40B4-BE49-F238E27FC236}">
                <a16:creationId xmlns:a16="http://schemas.microsoft.com/office/drawing/2014/main" id="{DF2D3AB6-6842-7F17-33C3-06B5736C3EF4}"/>
              </a:ext>
            </a:extLst>
          </p:cNvPr>
          <p:cNvCxnSpPr>
            <a:cxnSpLocks/>
          </p:cNvCxnSpPr>
          <p:nvPr/>
        </p:nvCxnSpPr>
        <p:spPr>
          <a:xfrm flipV="1">
            <a:off x="474531" y="1348606"/>
            <a:ext cx="0" cy="31024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644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A845E3-75FA-9A5E-F464-866CEF6B0E70}"/>
              </a:ext>
            </a:extLst>
          </p:cNvPr>
          <p:cNvSpPr>
            <a:spLocks noGrp="1"/>
          </p:cNvSpPr>
          <p:nvPr>
            <p:ph type="body" sz="quarter" idx="13"/>
          </p:nvPr>
        </p:nvSpPr>
        <p:spPr/>
        <p:txBody>
          <a:bodyPr/>
          <a:lstStyle/>
          <a:p>
            <a:r>
              <a:rPr lang="en-US"/>
              <a:t>Sources: </a:t>
            </a:r>
            <a:r>
              <a:rPr lang="en-CA" sz="700" err="1"/>
              <a:t>Addus</a:t>
            </a:r>
            <a:r>
              <a:rPr lang="en-CA" sz="700"/>
              <a:t> Homecare 10-K, Oppenheimer &amp; Co, RBC Capital Markets, Statista</a:t>
            </a:r>
            <a:endParaRPr lang="en-US"/>
          </a:p>
        </p:txBody>
      </p:sp>
      <p:sp>
        <p:nvSpPr>
          <p:cNvPr id="3" name="Text Placeholder 2">
            <a:extLst>
              <a:ext uri="{FF2B5EF4-FFF2-40B4-BE49-F238E27FC236}">
                <a16:creationId xmlns:a16="http://schemas.microsoft.com/office/drawing/2014/main" id="{7C68589A-AD68-405F-B7B0-D2D17C344FE7}"/>
              </a:ext>
            </a:extLst>
          </p:cNvPr>
          <p:cNvSpPr>
            <a:spLocks noGrp="1"/>
          </p:cNvSpPr>
          <p:nvPr>
            <p:ph type="body" sz="quarter" idx="21"/>
          </p:nvPr>
        </p:nvSpPr>
        <p:spPr/>
        <p:txBody>
          <a:bodyPr vert="horz" lIns="91440" tIns="45720" rIns="91440" bIns="45720" rtlCol="0" anchor="t">
            <a:normAutofit/>
          </a:bodyPr>
          <a:lstStyle/>
          <a:p>
            <a:r>
              <a:rPr lang="en-US" err="1"/>
              <a:t>Addus</a:t>
            </a:r>
            <a:r>
              <a:rPr lang="en-US"/>
              <a:t> Homecare’s path to shareholder value creation.</a:t>
            </a:r>
          </a:p>
        </p:txBody>
      </p:sp>
      <p:sp>
        <p:nvSpPr>
          <p:cNvPr id="4" name="Title 3">
            <a:extLst>
              <a:ext uri="{FF2B5EF4-FFF2-40B4-BE49-F238E27FC236}">
                <a16:creationId xmlns:a16="http://schemas.microsoft.com/office/drawing/2014/main" id="{8F4993D9-CC68-1075-4004-E65D04705D84}"/>
              </a:ext>
            </a:extLst>
          </p:cNvPr>
          <p:cNvSpPr>
            <a:spLocks noGrp="1"/>
          </p:cNvSpPr>
          <p:nvPr>
            <p:ph type="title"/>
          </p:nvPr>
        </p:nvSpPr>
        <p:spPr/>
        <p:txBody>
          <a:bodyPr/>
          <a:lstStyle/>
          <a:p>
            <a:r>
              <a:rPr lang="en-US"/>
              <a:t>Catalysts</a:t>
            </a:r>
          </a:p>
        </p:txBody>
      </p:sp>
      <p:graphicFrame>
        <p:nvGraphicFramePr>
          <p:cNvPr id="11" name="Content Placeholder 10">
            <a:extLst>
              <a:ext uri="{FF2B5EF4-FFF2-40B4-BE49-F238E27FC236}">
                <a16:creationId xmlns:a16="http://schemas.microsoft.com/office/drawing/2014/main" id="{AED88B42-A6E6-3A2A-A008-7FFD8AD27DEA}"/>
              </a:ext>
            </a:extLst>
          </p:cNvPr>
          <p:cNvGraphicFramePr>
            <a:graphicFrameLocks noGrp="1"/>
          </p:cNvGraphicFramePr>
          <p:nvPr>
            <p:ph sz="quarter" idx="23"/>
            <p:extLst>
              <p:ext uri="{D42A27DB-BD31-4B8C-83A1-F6EECF244321}">
                <p14:modId xmlns:p14="http://schemas.microsoft.com/office/powerpoint/2010/main" val="3948922580"/>
              </p:ext>
            </p:extLst>
          </p:nvPr>
        </p:nvGraphicFramePr>
        <p:xfrm>
          <a:off x="250825" y="1384300"/>
          <a:ext cx="8642350" cy="2185506"/>
        </p:xfrm>
        <a:graphic>
          <a:graphicData uri="http://schemas.openxmlformats.org/drawingml/2006/table">
            <a:tbl>
              <a:tblPr firstRow="1" bandRow="1">
                <a:tableStyleId>{5C22544A-7EE6-4342-B048-85BDC9FD1C3A}</a:tableStyleId>
              </a:tblPr>
              <a:tblGrid>
                <a:gridCol w="4321175">
                  <a:extLst>
                    <a:ext uri="{9D8B030D-6E8A-4147-A177-3AD203B41FA5}">
                      <a16:colId xmlns:a16="http://schemas.microsoft.com/office/drawing/2014/main" val="1363131795"/>
                    </a:ext>
                  </a:extLst>
                </a:gridCol>
                <a:gridCol w="4321175">
                  <a:extLst>
                    <a:ext uri="{9D8B030D-6E8A-4147-A177-3AD203B41FA5}">
                      <a16:colId xmlns:a16="http://schemas.microsoft.com/office/drawing/2014/main" val="233809429"/>
                    </a:ext>
                  </a:extLst>
                </a:gridCol>
              </a:tblGrid>
              <a:tr h="728502">
                <a:tc>
                  <a:txBody>
                    <a:bodyPr/>
                    <a:lstStyle/>
                    <a:p>
                      <a:pPr algn="ctr"/>
                      <a:r>
                        <a:rPr lang="en-US" sz="900" b="1">
                          <a:cs typeface="Arial"/>
                        </a:rPr>
                        <a:t>Acquisition Growth</a:t>
                      </a:r>
                    </a:p>
                  </a:txBody>
                  <a:tcPr anchor="ctr"/>
                </a:tc>
                <a:tc>
                  <a:txBody>
                    <a:bodyPr/>
                    <a:lstStyle/>
                    <a:p>
                      <a:pPr algn="ctr"/>
                      <a:r>
                        <a:rPr lang="en-US" sz="900" b="0" err="1">
                          <a:solidFill>
                            <a:schemeClr val="tx1"/>
                          </a:solidFill>
                          <a:cs typeface="Arial"/>
                        </a:rPr>
                        <a:t>Addus</a:t>
                      </a:r>
                      <a:r>
                        <a:rPr lang="en-US" sz="900" b="0">
                          <a:solidFill>
                            <a:schemeClr val="tx1"/>
                          </a:solidFill>
                          <a:cs typeface="Arial"/>
                        </a:rPr>
                        <a:t> uses acquisitions to expand geographic market share, and realizing synergies from acquisitions can increase revenue growth/margins</a:t>
                      </a:r>
                    </a:p>
                  </a:txBody>
                  <a:tcPr anchor="ctr">
                    <a:solidFill>
                      <a:schemeClr val="bg2">
                        <a:lumMod val="90000"/>
                      </a:schemeClr>
                    </a:solidFill>
                  </a:tcPr>
                </a:tc>
                <a:extLst>
                  <a:ext uri="{0D108BD9-81ED-4DB2-BD59-A6C34878D82A}">
                    <a16:rowId xmlns:a16="http://schemas.microsoft.com/office/drawing/2014/main" val="3419155736"/>
                  </a:ext>
                </a:extLst>
              </a:tr>
              <a:tr h="728502">
                <a:tc>
                  <a:txBody>
                    <a:bodyPr/>
                    <a:lstStyle/>
                    <a:p>
                      <a:pPr algn="ctr"/>
                      <a:r>
                        <a:rPr lang="en-US" sz="900" b="1">
                          <a:solidFill>
                            <a:schemeClr val="bg1"/>
                          </a:solidFill>
                        </a:rPr>
                        <a:t>Expansion into Medicare Advantage</a:t>
                      </a:r>
                      <a:endParaRPr lang="en-US" sz="900">
                        <a:solidFill>
                          <a:schemeClr val="bg1"/>
                        </a:solidFill>
                      </a:endParaRPr>
                    </a:p>
                  </a:txBody>
                  <a:tcPr anchor="ctr">
                    <a:solidFill>
                      <a:schemeClr val="tx2"/>
                    </a:solidFill>
                  </a:tcPr>
                </a:tc>
                <a:tc>
                  <a:txBody>
                    <a:bodyPr/>
                    <a:lstStyle/>
                    <a:p>
                      <a:pPr algn="ctr"/>
                      <a:r>
                        <a:rPr lang="en-US" sz="900">
                          <a:solidFill>
                            <a:schemeClr val="tx1"/>
                          </a:solidFill>
                        </a:rPr>
                        <a:t>Medicare Advantage continues to grow in coverage across the US, which provides an opportunity for </a:t>
                      </a:r>
                      <a:r>
                        <a:rPr lang="en-US" sz="900" err="1">
                          <a:solidFill>
                            <a:schemeClr val="tx1"/>
                          </a:solidFill>
                        </a:rPr>
                        <a:t>Addus</a:t>
                      </a:r>
                      <a:r>
                        <a:rPr lang="en-US" sz="900">
                          <a:solidFill>
                            <a:schemeClr val="tx1"/>
                          </a:solidFill>
                        </a:rPr>
                        <a:t> to diversify its payer base. This should increase revenue and make </a:t>
                      </a:r>
                      <a:r>
                        <a:rPr lang="en-US" sz="900" err="1">
                          <a:solidFill>
                            <a:schemeClr val="tx1"/>
                          </a:solidFill>
                        </a:rPr>
                        <a:t>Addus</a:t>
                      </a:r>
                      <a:r>
                        <a:rPr lang="en-US" sz="900">
                          <a:solidFill>
                            <a:schemeClr val="tx1"/>
                          </a:solidFill>
                        </a:rPr>
                        <a:t> less reliant on state-level funding</a:t>
                      </a:r>
                      <a:endParaRPr lang="en-US" sz="900"/>
                    </a:p>
                  </a:txBody>
                  <a:tcPr anchor="ctr">
                    <a:solidFill>
                      <a:schemeClr val="bg2">
                        <a:lumMod val="90000"/>
                      </a:schemeClr>
                    </a:solidFill>
                  </a:tcPr>
                </a:tc>
                <a:extLst>
                  <a:ext uri="{0D108BD9-81ED-4DB2-BD59-A6C34878D82A}">
                    <a16:rowId xmlns:a16="http://schemas.microsoft.com/office/drawing/2014/main" val="2481036281"/>
                  </a:ext>
                </a:extLst>
              </a:tr>
              <a:tr h="728502">
                <a:tc>
                  <a:txBody>
                    <a:bodyPr/>
                    <a:lstStyle/>
                    <a:p>
                      <a:pPr algn="ctr"/>
                      <a:r>
                        <a:rPr lang="en-US" sz="900" b="1">
                          <a:solidFill>
                            <a:schemeClr val="bg1"/>
                          </a:solidFill>
                        </a:rPr>
                        <a:t>Increased Demand for Hospice and Home-Based Care</a:t>
                      </a:r>
                      <a:endParaRPr lang="en-US" sz="900">
                        <a:solidFill>
                          <a:schemeClr val="bg1"/>
                        </a:solidFill>
                      </a:endParaRPr>
                    </a:p>
                  </a:txBody>
                  <a:tcPr anchor="ctr">
                    <a:solidFill>
                      <a:schemeClr val="tx2"/>
                    </a:solidFill>
                  </a:tcPr>
                </a:tc>
                <a:tc>
                  <a:txBody>
                    <a:bodyPr/>
                    <a:lstStyle/>
                    <a:p>
                      <a:pPr algn="ctr"/>
                      <a:r>
                        <a:rPr lang="en-US" sz="900">
                          <a:solidFill>
                            <a:schemeClr val="tx1"/>
                          </a:solidFill>
                        </a:rPr>
                        <a:t>The growing US senior population (65+ years) for fuel demand for home care, which should bolster </a:t>
                      </a:r>
                      <a:r>
                        <a:rPr lang="en-US" sz="900" err="1">
                          <a:solidFill>
                            <a:schemeClr val="tx1"/>
                          </a:solidFill>
                        </a:rPr>
                        <a:t>Addus</a:t>
                      </a:r>
                      <a:r>
                        <a:rPr lang="en-US" sz="900">
                          <a:solidFill>
                            <a:schemeClr val="tx1"/>
                          </a:solidFill>
                        </a:rPr>
                        <a:t>’ market share and long-term price targets from the street</a:t>
                      </a:r>
                      <a:endParaRPr lang="en-US" sz="900"/>
                    </a:p>
                  </a:txBody>
                  <a:tcPr anchor="ctr">
                    <a:solidFill>
                      <a:schemeClr val="bg2">
                        <a:lumMod val="90000"/>
                      </a:schemeClr>
                    </a:solidFill>
                  </a:tcPr>
                </a:tc>
                <a:extLst>
                  <a:ext uri="{0D108BD9-81ED-4DB2-BD59-A6C34878D82A}">
                    <a16:rowId xmlns:a16="http://schemas.microsoft.com/office/drawing/2014/main" val="1419109972"/>
                  </a:ext>
                </a:extLst>
              </a:tr>
            </a:tbl>
          </a:graphicData>
        </a:graphic>
      </p:graphicFrame>
      <p:sp>
        <p:nvSpPr>
          <p:cNvPr id="6" name="Text Placeholder 5">
            <a:extLst>
              <a:ext uri="{FF2B5EF4-FFF2-40B4-BE49-F238E27FC236}">
                <a16:creationId xmlns:a16="http://schemas.microsoft.com/office/drawing/2014/main" id="{00D76BAC-B54C-8681-F230-D5955B33762F}"/>
              </a:ext>
            </a:extLst>
          </p:cNvPr>
          <p:cNvSpPr>
            <a:spLocks noGrp="1"/>
          </p:cNvSpPr>
          <p:nvPr>
            <p:ph type="body" idx="26"/>
          </p:nvPr>
        </p:nvSpPr>
        <p:spPr/>
        <p:txBody>
          <a:bodyPr/>
          <a:lstStyle/>
          <a:p>
            <a:r>
              <a:rPr lang="en-US"/>
              <a:t>Potential Catalysts</a:t>
            </a:r>
          </a:p>
        </p:txBody>
      </p:sp>
      <p:sp>
        <p:nvSpPr>
          <p:cNvPr id="7" name="Text Placeholder 6">
            <a:extLst>
              <a:ext uri="{FF2B5EF4-FFF2-40B4-BE49-F238E27FC236}">
                <a16:creationId xmlns:a16="http://schemas.microsoft.com/office/drawing/2014/main" id="{5723E8D1-CE12-FD34-ED45-83A3793793E1}"/>
              </a:ext>
            </a:extLst>
          </p:cNvPr>
          <p:cNvSpPr>
            <a:spLocks noGrp="1"/>
          </p:cNvSpPr>
          <p:nvPr>
            <p:ph type="body" idx="27"/>
          </p:nvPr>
        </p:nvSpPr>
        <p:spPr/>
        <p:txBody>
          <a:bodyPr/>
          <a:lstStyle/>
          <a:p>
            <a:r>
              <a:rPr lang="en-US"/>
              <a:t>U.S. Hospice Market (</a:t>
            </a:r>
            <a:r>
              <a:rPr lang="en-US" i="1"/>
              <a:t>in $USD bn</a:t>
            </a:r>
            <a:r>
              <a:rPr lang="en-US"/>
              <a:t>)</a:t>
            </a:r>
          </a:p>
        </p:txBody>
      </p:sp>
      <p:graphicFrame>
        <p:nvGraphicFramePr>
          <p:cNvPr id="12" name="Chart 11">
            <a:extLst>
              <a:ext uri="{FF2B5EF4-FFF2-40B4-BE49-F238E27FC236}">
                <a16:creationId xmlns:a16="http://schemas.microsoft.com/office/drawing/2014/main" id="{7D9C1508-F5FC-AE76-940B-B984C67F82AA}"/>
              </a:ext>
            </a:extLst>
          </p:cNvPr>
          <p:cNvGraphicFramePr/>
          <p:nvPr>
            <p:extLst>
              <p:ext uri="{D42A27DB-BD31-4B8C-83A1-F6EECF244321}">
                <p14:modId xmlns:p14="http://schemas.microsoft.com/office/powerpoint/2010/main" val="2711734482"/>
              </p:ext>
            </p:extLst>
          </p:nvPr>
        </p:nvGraphicFramePr>
        <p:xfrm>
          <a:off x="250821" y="4011554"/>
          <a:ext cx="8642350" cy="2262245"/>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Straight Arrow Connector 13">
            <a:extLst>
              <a:ext uri="{FF2B5EF4-FFF2-40B4-BE49-F238E27FC236}">
                <a16:creationId xmlns:a16="http://schemas.microsoft.com/office/drawing/2014/main" id="{E455B32F-74D8-2DAF-DC9D-AEFDF78F8D1E}"/>
              </a:ext>
            </a:extLst>
          </p:cNvPr>
          <p:cNvCxnSpPr>
            <a:cxnSpLocks/>
          </p:cNvCxnSpPr>
          <p:nvPr/>
        </p:nvCxnSpPr>
        <p:spPr>
          <a:xfrm flipV="1">
            <a:off x="1002182" y="4103827"/>
            <a:ext cx="7212788" cy="1369873"/>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
            <a:extLst>
              <a:ext uri="{FF2B5EF4-FFF2-40B4-BE49-F238E27FC236}">
                <a16:creationId xmlns:a16="http://schemas.microsoft.com/office/drawing/2014/main" id="{B596C415-5B78-88F1-9010-E92CDCB78DD5}"/>
              </a:ext>
            </a:extLst>
          </p:cNvPr>
          <p:cNvSpPr txBox="1"/>
          <p:nvPr/>
        </p:nvSpPr>
        <p:spPr>
          <a:xfrm rot="20952676">
            <a:off x="3906315" y="4439073"/>
            <a:ext cx="1404521" cy="269983"/>
          </a:xfrm>
          <a:prstGeom prst="rect">
            <a:avLst/>
          </a:prstGeom>
          <a:ln w="12700">
            <a:solidFill>
              <a:schemeClr val="accent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CA" sz="900"/>
              <a:t>8.1</a:t>
            </a:r>
            <a:r>
              <a:rPr lang="en-CA" sz="900" kern="1200"/>
              <a:t>% CAGR</a:t>
            </a:r>
          </a:p>
        </p:txBody>
      </p:sp>
    </p:spTree>
    <p:extLst>
      <p:ext uri="{BB962C8B-B14F-4D97-AF65-F5344CB8AC3E}">
        <p14:creationId xmlns:p14="http://schemas.microsoft.com/office/powerpoint/2010/main" val="1839031691"/>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4803B-8774-7A27-9367-31AD60113B1D}"/>
              </a:ext>
            </a:extLst>
          </p:cNvPr>
          <p:cNvSpPr>
            <a:spLocks noGrp="1"/>
          </p:cNvSpPr>
          <p:nvPr>
            <p:ph type="title"/>
          </p:nvPr>
        </p:nvSpPr>
        <p:spPr/>
        <p:txBody>
          <a:bodyPr/>
          <a:lstStyle/>
          <a:p>
            <a:r>
              <a:rPr lang="en-CA"/>
              <a:t>D. Investment Theses</a:t>
            </a:r>
          </a:p>
        </p:txBody>
      </p:sp>
      <p:sp>
        <p:nvSpPr>
          <p:cNvPr id="3" name="Text Placeholder 2">
            <a:extLst>
              <a:ext uri="{FF2B5EF4-FFF2-40B4-BE49-F238E27FC236}">
                <a16:creationId xmlns:a16="http://schemas.microsoft.com/office/drawing/2014/main" id="{649C2F9B-E715-0D1A-BC1E-60B3DE86BF04}"/>
              </a:ext>
            </a:extLst>
          </p:cNvPr>
          <p:cNvSpPr>
            <a:spLocks noGrp="1"/>
          </p:cNvSpPr>
          <p:nvPr>
            <p:ph type="body" sz="quarter" idx="18"/>
          </p:nvPr>
        </p:nvSpPr>
        <p:spPr/>
        <p:txBody>
          <a:bodyPr/>
          <a:lstStyle/>
          <a:p>
            <a:endParaRPr lang="en-CA"/>
          </a:p>
        </p:txBody>
      </p:sp>
      <p:sp>
        <p:nvSpPr>
          <p:cNvPr id="6" name="Text Placeholder 5">
            <a:extLst>
              <a:ext uri="{FF2B5EF4-FFF2-40B4-BE49-F238E27FC236}">
                <a16:creationId xmlns:a16="http://schemas.microsoft.com/office/drawing/2014/main" id="{0FB5A06C-53E1-5D24-6923-AED331159C12}"/>
              </a:ext>
            </a:extLst>
          </p:cNvPr>
          <p:cNvSpPr>
            <a:spLocks noGrp="1"/>
          </p:cNvSpPr>
          <p:nvPr>
            <p:ph type="body" sz="quarter" idx="19"/>
          </p:nvPr>
        </p:nvSpPr>
        <p:spPr/>
        <p:txBody>
          <a:bodyPr/>
          <a:lstStyle/>
          <a:p>
            <a:endParaRPr lang="en-CA"/>
          </a:p>
        </p:txBody>
      </p:sp>
    </p:spTree>
    <p:extLst>
      <p:ext uri="{BB962C8B-B14F-4D97-AF65-F5344CB8AC3E}">
        <p14:creationId xmlns:p14="http://schemas.microsoft.com/office/powerpoint/2010/main" val="1710568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67FF71-3FAF-1037-FE7F-D75BD2B752E2}"/>
              </a:ext>
            </a:extLst>
          </p:cNvPr>
          <p:cNvSpPr>
            <a:spLocks noGrp="1"/>
          </p:cNvSpPr>
          <p:nvPr>
            <p:ph type="body" sz="quarter" idx="13"/>
          </p:nvPr>
        </p:nvSpPr>
        <p:spPr/>
        <p:txBody>
          <a:bodyPr/>
          <a:lstStyle/>
          <a:p>
            <a:r>
              <a:rPr lang="en-US"/>
              <a:t>Sources: </a:t>
            </a:r>
            <a:r>
              <a:rPr lang="en-US" err="1"/>
              <a:t>Addus</a:t>
            </a:r>
            <a:r>
              <a:rPr lang="en-US"/>
              <a:t> 10-K, CMS, RBC Capital Markets, Statista, U.S Census, University of Michigan</a:t>
            </a:r>
          </a:p>
        </p:txBody>
      </p:sp>
      <p:sp>
        <p:nvSpPr>
          <p:cNvPr id="3" name="Text Placeholder 2">
            <a:extLst>
              <a:ext uri="{FF2B5EF4-FFF2-40B4-BE49-F238E27FC236}">
                <a16:creationId xmlns:a16="http://schemas.microsoft.com/office/drawing/2014/main" id="{ACA9DDB3-DD83-00C7-4C41-1F6AA546C5AA}"/>
              </a:ext>
            </a:extLst>
          </p:cNvPr>
          <p:cNvSpPr>
            <a:spLocks noGrp="1"/>
          </p:cNvSpPr>
          <p:nvPr>
            <p:ph type="body" sz="quarter" idx="21"/>
          </p:nvPr>
        </p:nvSpPr>
        <p:spPr/>
        <p:txBody>
          <a:bodyPr/>
          <a:lstStyle/>
          <a:p>
            <a:r>
              <a:rPr lang="en-US" err="1"/>
              <a:t>Addus</a:t>
            </a:r>
            <a:r>
              <a:rPr lang="en-US"/>
              <a:t> is positioned well for an aging population in need for home healthcare services</a:t>
            </a:r>
          </a:p>
        </p:txBody>
      </p:sp>
      <p:sp>
        <p:nvSpPr>
          <p:cNvPr id="4" name="Title 3">
            <a:extLst>
              <a:ext uri="{FF2B5EF4-FFF2-40B4-BE49-F238E27FC236}">
                <a16:creationId xmlns:a16="http://schemas.microsoft.com/office/drawing/2014/main" id="{5AEAE175-3CA8-60E0-4FC9-F51CBA49249F}"/>
              </a:ext>
            </a:extLst>
          </p:cNvPr>
          <p:cNvSpPr>
            <a:spLocks noGrp="1"/>
          </p:cNvSpPr>
          <p:nvPr>
            <p:ph type="title"/>
          </p:nvPr>
        </p:nvSpPr>
        <p:spPr/>
        <p:txBody>
          <a:bodyPr/>
          <a:lstStyle/>
          <a:p>
            <a:r>
              <a:rPr lang="en-US"/>
              <a:t>Investment Thesis I</a:t>
            </a:r>
          </a:p>
        </p:txBody>
      </p:sp>
      <p:sp>
        <p:nvSpPr>
          <p:cNvPr id="5" name="Text Placeholder 4">
            <a:extLst>
              <a:ext uri="{FF2B5EF4-FFF2-40B4-BE49-F238E27FC236}">
                <a16:creationId xmlns:a16="http://schemas.microsoft.com/office/drawing/2014/main" id="{D9175CDC-8956-A774-0D02-B848FC1E552C}"/>
              </a:ext>
            </a:extLst>
          </p:cNvPr>
          <p:cNvSpPr>
            <a:spLocks noGrp="1"/>
          </p:cNvSpPr>
          <p:nvPr>
            <p:ph type="body" idx="22"/>
          </p:nvPr>
        </p:nvSpPr>
        <p:spPr/>
        <p:txBody>
          <a:bodyPr/>
          <a:lstStyle/>
          <a:p>
            <a:r>
              <a:rPr lang="en-US"/>
              <a:t>Payer Support through Federal and Private Healthcare</a:t>
            </a:r>
          </a:p>
        </p:txBody>
      </p:sp>
      <p:sp>
        <p:nvSpPr>
          <p:cNvPr id="7" name="Text Placeholder 6">
            <a:extLst>
              <a:ext uri="{FF2B5EF4-FFF2-40B4-BE49-F238E27FC236}">
                <a16:creationId xmlns:a16="http://schemas.microsoft.com/office/drawing/2014/main" id="{7CC7CA21-0808-638C-E8B2-D33A561104DB}"/>
              </a:ext>
            </a:extLst>
          </p:cNvPr>
          <p:cNvSpPr>
            <a:spLocks noGrp="1"/>
          </p:cNvSpPr>
          <p:nvPr>
            <p:ph type="body" idx="26"/>
          </p:nvPr>
        </p:nvSpPr>
        <p:spPr/>
        <p:txBody>
          <a:bodyPr/>
          <a:lstStyle/>
          <a:p>
            <a:r>
              <a:rPr lang="en-US"/>
              <a:t>Demographic Trends</a:t>
            </a:r>
          </a:p>
        </p:txBody>
      </p:sp>
      <p:sp>
        <p:nvSpPr>
          <p:cNvPr id="8" name="Text Placeholder 7">
            <a:extLst>
              <a:ext uri="{FF2B5EF4-FFF2-40B4-BE49-F238E27FC236}">
                <a16:creationId xmlns:a16="http://schemas.microsoft.com/office/drawing/2014/main" id="{2FB77E19-2EB4-AE45-6F74-35B856607A07}"/>
              </a:ext>
            </a:extLst>
          </p:cNvPr>
          <p:cNvSpPr>
            <a:spLocks noGrp="1"/>
          </p:cNvSpPr>
          <p:nvPr>
            <p:ph type="body" idx="27"/>
          </p:nvPr>
        </p:nvSpPr>
        <p:spPr/>
        <p:txBody>
          <a:bodyPr/>
          <a:lstStyle/>
          <a:p>
            <a:r>
              <a:rPr lang="en-US"/>
              <a:t>US Senior Population Growth</a:t>
            </a:r>
          </a:p>
        </p:txBody>
      </p:sp>
      <p:sp>
        <p:nvSpPr>
          <p:cNvPr id="9" name="Content Placeholder 8">
            <a:extLst>
              <a:ext uri="{FF2B5EF4-FFF2-40B4-BE49-F238E27FC236}">
                <a16:creationId xmlns:a16="http://schemas.microsoft.com/office/drawing/2014/main" id="{B7251C02-C105-B5EA-65BC-50C89E0ACA0F}"/>
              </a:ext>
            </a:extLst>
          </p:cNvPr>
          <p:cNvSpPr>
            <a:spLocks noGrp="1"/>
          </p:cNvSpPr>
          <p:nvPr>
            <p:ph sz="quarter" idx="28"/>
          </p:nvPr>
        </p:nvSpPr>
        <p:spPr/>
        <p:txBody>
          <a:bodyPr/>
          <a:lstStyle/>
          <a:p>
            <a:r>
              <a:rPr lang="en-US" b="1"/>
              <a:t>Medicaid: </a:t>
            </a:r>
            <a:r>
              <a:rPr lang="en-US"/>
              <a:t>Accounts for 59.5% of </a:t>
            </a:r>
            <a:r>
              <a:rPr lang="en-US" err="1"/>
              <a:t>Addus’s</a:t>
            </a:r>
            <a:r>
              <a:rPr lang="en-US"/>
              <a:t> revenue. State funding for Medicaid is expected to continue to grow.  A recently passed CMS Medicaid policy assures 80% pass-through of reimbursement to caregivers, which should support increased M&amp;A activity.</a:t>
            </a:r>
          </a:p>
          <a:p>
            <a:r>
              <a:rPr lang="en-US" b="1"/>
              <a:t>Medicare: </a:t>
            </a:r>
            <a:r>
              <a:rPr lang="en-US"/>
              <a:t>21.5% of </a:t>
            </a:r>
            <a:r>
              <a:rPr lang="en-US" err="1"/>
              <a:t>Addus</a:t>
            </a:r>
            <a:r>
              <a:rPr lang="en-US"/>
              <a:t> Revenue, primarily through hospice services. The increase in support for home-based care services have seen increased support from Medicare Advantage plans presents an opportunity for </a:t>
            </a:r>
            <a:r>
              <a:rPr lang="en-US" err="1"/>
              <a:t>Addus</a:t>
            </a:r>
            <a:r>
              <a:rPr lang="en-US"/>
              <a:t>. In 2023, 157 plans included home-based palliative care, up from 61 in 2020.</a:t>
            </a:r>
          </a:p>
          <a:p>
            <a:r>
              <a:rPr lang="en-US" b="1"/>
              <a:t>Dual-Eligibility: </a:t>
            </a:r>
            <a:r>
              <a:rPr lang="en-US"/>
              <a:t>Beneficiaries of both Medicare and Medicaid are some of the highest healthcare spenders, from 2006 the total number has grown from approximately 8.6m to 12.8m in 2024.</a:t>
            </a:r>
            <a:endParaRPr lang="en-US" b="1"/>
          </a:p>
        </p:txBody>
      </p:sp>
      <p:sp>
        <p:nvSpPr>
          <p:cNvPr id="11" name="Content Placeholder 10">
            <a:extLst>
              <a:ext uri="{FF2B5EF4-FFF2-40B4-BE49-F238E27FC236}">
                <a16:creationId xmlns:a16="http://schemas.microsoft.com/office/drawing/2014/main" id="{2A1DD375-2629-FEEA-4BE1-D64BE5E1329C}"/>
              </a:ext>
            </a:extLst>
          </p:cNvPr>
          <p:cNvSpPr>
            <a:spLocks noGrp="1"/>
          </p:cNvSpPr>
          <p:nvPr>
            <p:ph sz="quarter" idx="30"/>
          </p:nvPr>
        </p:nvSpPr>
        <p:spPr/>
        <p:txBody>
          <a:bodyPr/>
          <a:lstStyle/>
          <a:p>
            <a:r>
              <a:rPr lang="en-US" err="1"/>
              <a:t>Addus</a:t>
            </a:r>
            <a:r>
              <a:rPr lang="en-US"/>
              <a:t> is actively expanding its hospice segment, addressing an increasingly aging population. The firm completed the acquisition of Tennessee Quality Care and their Hospice division. The acquisition increased total revenue by approx. 1.5%.</a:t>
            </a:r>
          </a:p>
          <a:p>
            <a:r>
              <a:rPr lang="en-US"/>
              <a:t>Hospice services offer higher margins compared to personal care, </a:t>
            </a:r>
            <a:r>
              <a:rPr lang="en-US" err="1"/>
              <a:t>Addus</a:t>
            </a:r>
            <a:r>
              <a:rPr lang="en-US"/>
              <a:t> reported a profit margin in their hospice segment of 46.8% in 2023 compared to 37% in home health.</a:t>
            </a:r>
          </a:p>
          <a:p>
            <a:r>
              <a:rPr lang="en-US"/>
              <a:t>The Hospice segment saw organic average daily census (ADC) growth in 2024 of 1.7% and is projected to grow further throughout 2025.</a:t>
            </a:r>
          </a:p>
        </p:txBody>
      </p:sp>
      <p:sp>
        <p:nvSpPr>
          <p:cNvPr id="12" name="Text Placeholder 11">
            <a:extLst>
              <a:ext uri="{FF2B5EF4-FFF2-40B4-BE49-F238E27FC236}">
                <a16:creationId xmlns:a16="http://schemas.microsoft.com/office/drawing/2014/main" id="{511BE8D9-CF2B-2CFD-8FC6-98E5CD5B2AD5}"/>
              </a:ext>
            </a:extLst>
          </p:cNvPr>
          <p:cNvSpPr>
            <a:spLocks noGrp="1"/>
          </p:cNvSpPr>
          <p:nvPr>
            <p:ph type="body" idx="31"/>
          </p:nvPr>
        </p:nvSpPr>
        <p:spPr/>
        <p:txBody>
          <a:bodyPr/>
          <a:lstStyle/>
          <a:p>
            <a:r>
              <a:rPr lang="en-US"/>
              <a:t>Expansion in Hospice</a:t>
            </a:r>
          </a:p>
        </p:txBody>
      </p:sp>
      <p:graphicFrame>
        <p:nvGraphicFramePr>
          <p:cNvPr id="16" name="Content Placeholder 14">
            <a:extLst>
              <a:ext uri="{FF2B5EF4-FFF2-40B4-BE49-F238E27FC236}">
                <a16:creationId xmlns:a16="http://schemas.microsoft.com/office/drawing/2014/main" id="{AFA96ADB-BD29-78CF-F180-1FD93F035922}"/>
              </a:ext>
            </a:extLst>
          </p:cNvPr>
          <p:cNvGraphicFramePr>
            <a:graphicFrameLocks noGrp="1"/>
          </p:cNvGraphicFramePr>
          <p:nvPr>
            <p:ph sz="quarter" idx="29"/>
            <p:extLst>
              <p:ext uri="{D42A27DB-BD31-4B8C-83A1-F6EECF244321}">
                <p14:modId xmlns:p14="http://schemas.microsoft.com/office/powerpoint/2010/main" val="2480827197"/>
              </p:ext>
            </p:extLst>
          </p:nvPr>
        </p:nvGraphicFramePr>
        <p:xfrm>
          <a:off x="250825" y="3753039"/>
          <a:ext cx="4141788" cy="2439799"/>
        </p:xfrm>
        <a:graphic>
          <a:graphicData uri="http://schemas.openxmlformats.org/drawingml/2006/chart">
            <c:chart xmlns:c="http://schemas.openxmlformats.org/drawingml/2006/chart" xmlns:r="http://schemas.openxmlformats.org/officeDocument/2006/relationships" r:id="rId3"/>
          </a:graphicData>
        </a:graphic>
      </p:graphicFrame>
      <p:sp>
        <p:nvSpPr>
          <p:cNvPr id="18" name="Content Placeholder 17">
            <a:extLst>
              <a:ext uri="{FF2B5EF4-FFF2-40B4-BE49-F238E27FC236}">
                <a16:creationId xmlns:a16="http://schemas.microsoft.com/office/drawing/2014/main" id="{AEC705EC-5FE4-04D5-B2CB-1233E975B298}"/>
              </a:ext>
            </a:extLst>
          </p:cNvPr>
          <p:cNvSpPr>
            <a:spLocks noGrp="1"/>
          </p:cNvSpPr>
          <p:nvPr>
            <p:ph sz="quarter" idx="23"/>
          </p:nvPr>
        </p:nvSpPr>
        <p:spPr/>
        <p:txBody>
          <a:bodyPr/>
          <a:lstStyle/>
          <a:p>
            <a:r>
              <a:rPr lang="en-US"/>
              <a:t>The proportion of Americans aged 65 or older is projected to grow to 20% of the population by 2030; 2035 projections predict further growth to surpass the population of Americans 18 or under.</a:t>
            </a:r>
          </a:p>
          <a:p>
            <a:r>
              <a:rPr lang="en-US"/>
              <a:t>The population of Americans 85 or older is expected to nearly double by 2040.</a:t>
            </a:r>
          </a:p>
          <a:p>
            <a:r>
              <a:rPr lang="en-US"/>
              <a:t>Older adults have cited preferences to “age in place” rather than enter institutional facilities, aligning with </a:t>
            </a:r>
            <a:r>
              <a:rPr lang="en-US" err="1"/>
              <a:t>Addus</a:t>
            </a:r>
            <a:r>
              <a:rPr lang="en-US"/>
              <a:t>.</a:t>
            </a:r>
          </a:p>
          <a:p>
            <a:r>
              <a:rPr lang="en-US"/>
              <a:t>Home/Community-based services in Medicaid accounted for 64.6% of Medicaid long-term service/support expenditures.</a:t>
            </a:r>
          </a:p>
          <a:p>
            <a:endParaRPr lang="en-US"/>
          </a:p>
        </p:txBody>
      </p:sp>
    </p:spTree>
    <p:extLst>
      <p:ext uri="{BB962C8B-B14F-4D97-AF65-F5344CB8AC3E}">
        <p14:creationId xmlns:p14="http://schemas.microsoft.com/office/powerpoint/2010/main" val="2613300315"/>
      </p:ext>
    </p:extLst>
  </p:cSld>
  <p:clrMapOvr>
    <a:masterClrMapping/>
  </p:clrMapOvr>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9AEEB4D-D331-0867-CA13-B83921CCAEBB}"/>
              </a:ext>
            </a:extLst>
          </p:cNvPr>
          <p:cNvSpPr>
            <a:spLocks noGrp="1"/>
          </p:cNvSpPr>
          <p:nvPr>
            <p:ph type="body" sz="quarter" idx="13"/>
          </p:nvPr>
        </p:nvSpPr>
        <p:spPr/>
        <p:txBody>
          <a:bodyPr/>
          <a:lstStyle/>
          <a:p>
            <a:r>
              <a:rPr lang="en-US"/>
              <a:t>Sources: Capital IQ, </a:t>
            </a:r>
            <a:r>
              <a:rPr lang="en-US" err="1"/>
              <a:t>Addus</a:t>
            </a:r>
            <a:r>
              <a:rPr lang="en-US"/>
              <a:t> 10-K, Pitchbook</a:t>
            </a:r>
          </a:p>
        </p:txBody>
      </p:sp>
      <p:sp>
        <p:nvSpPr>
          <p:cNvPr id="3" name="Text Placeholder 2">
            <a:extLst>
              <a:ext uri="{FF2B5EF4-FFF2-40B4-BE49-F238E27FC236}">
                <a16:creationId xmlns:a16="http://schemas.microsoft.com/office/drawing/2014/main" id="{36AC9322-1EFA-5552-6913-AB2CDAD7C12A}"/>
              </a:ext>
            </a:extLst>
          </p:cNvPr>
          <p:cNvSpPr>
            <a:spLocks noGrp="1"/>
          </p:cNvSpPr>
          <p:nvPr>
            <p:ph type="body" sz="quarter" idx="21"/>
          </p:nvPr>
        </p:nvSpPr>
        <p:spPr/>
        <p:txBody>
          <a:bodyPr vert="horz" lIns="91440" tIns="45720" rIns="91440" bIns="45720" rtlCol="0" anchor="t">
            <a:normAutofit fontScale="92500" lnSpcReduction="10000"/>
          </a:bodyPr>
          <a:lstStyle/>
          <a:p>
            <a:r>
              <a:rPr lang="en-US" err="1"/>
              <a:t>Addus</a:t>
            </a:r>
            <a:r>
              <a:rPr lang="en-US"/>
              <a:t> Homecare is set to capture market share in a fragmented market due to strong balance sheet and commitment to acquired growth.</a:t>
            </a:r>
          </a:p>
        </p:txBody>
      </p:sp>
      <p:sp>
        <p:nvSpPr>
          <p:cNvPr id="4" name="Title 3">
            <a:extLst>
              <a:ext uri="{FF2B5EF4-FFF2-40B4-BE49-F238E27FC236}">
                <a16:creationId xmlns:a16="http://schemas.microsoft.com/office/drawing/2014/main" id="{CD0D025D-F440-02D5-3C49-BA907706216A}"/>
              </a:ext>
            </a:extLst>
          </p:cNvPr>
          <p:cNvSpPr>
            <a:spLocks noGrp="1"/>
          </p:cNvSpPr>
          <p:nvPr>
            <p:ph type="title"/>
          </p:nvPr>
        </p:nvSpPr>
        <p:spPr/>
        <p:txBody>
          <a:bodyPr/>
          <a:lstStyle/>
          <a:p>
            <a:r>
              <a:rPr lang="en-US"/>
              <a:t>Investment Thesis II</a:t>
            </a:r>
          </a:p>
        </p:txBody>
      </p:sp>
      <p:sp>
        <p:nvSpPr>
          <p:cNvPr id="5" name="Text Placeholder 4">
            <a:extLst>
              <a:ext uri="{FF2B5EF4-FFF2-40B4-BE49-F238E27FC236}">
                <a16:creationId xmlns:a16="http://schemas.microsoft.com/office/drawing/2014/main" id="{7FE8D84E-3591-62F6-B9EA-8EA959DF4F0C}"/>
              </a:ext>
            </a:extLst>
          </p:cNvPr>
          <p:cNvSpPr>
            <a:spLocks noGrp="1"/>
          </p:cNvSpPr>
          <p:nvPr>
            <p:ph type="body" idx="22"/>
          </p:nvPr>
        </p:nvSpPr>
        <p:spPr/>
        <p:txBody>
          <a:bodyPr/>
          <a:lstStyle/>
          <a:p>
            <a:r>
              <a:rPr lang="en-US" err="1"/>
              <a:t>Addus</a:t>
            </a:r>
            <a:r>
              <a:rPr lang="en-US"/>
              <a:t> Homecare M&amp;A History</a:t>
            </a:r>
          </a:p>
        </p:txBody>
      </p:sp>
      <p:graphicFrame>
        <p:nvGraphicFramePr>
          <p:cNvPr id="15" name="Content Placeholder 14">
            <a:extLst>
              <a:ext uri="{FF2B5EF4-FFF2-40B4-BE49-F238E27FC236}">
                <a16:creationId xmlns:a16="http://schemas.microsoft.com/office/drawing/2014/main" id="{AFA634B6-FFEF-BB98-E515-51CD713B59A5}"/>
              </a:ext>
            </a:extLst>
          </p:cNvPr>
          <p:cNvGraphicFramePr>
            <a:graphicFrameLocks noGrp="1"/>
          </p:cNvGraphicFramePr>
          <p:nvPr>
            <p:ph sz="quarter" idx="23"/>
            <p:extLst>
              <p:ext uri="{D42A27DB-BD31-4B8C-83A1-F6EECF244321}">
                <p14:modId xmlns:p14="http://schemas.microsoft.com/office/powerpoint/2010/main" val="926354231"/>
              </p:ext>
            </p:extLst>
          </p:nvPr>
        </p:nvGraphicFramePr>
        <p:xfrm>
          <a:off x="250825" y="1384300"/>
          <a:ext cx="4141788" cy="217805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6">
            <a:extLst>
              <a:ext uri="{FF2B5EF4-FFF2-40B4-BE49-F238E27FC236}">
                <a16:creationId xmlns:a16="http://schemas.microsoft.com/office/drawing/2014/main" id="{230957FE-CA27-F6BC-157D-232B1C617A2A}"/>
              </a:ext>
            </a:extLst>
          </p:cNvPr>
          <p:cNvSpPr>
            <a:spLocks noGrp="1"/>
          </p:cNvSpPr>
          <p:nvPr>
            <p:ph type="body" idx="26"/>
          </p:nvPr>
        </p:nvSpPr>
        <p:spPr/>
        <p:txBody>
          <a:bodyPr/>
          <a:lstStyle/>
          <a:p>
            <a:r>
              <a:rPr lang="en-US"/>
              <a:t>Net Debt (in $USD </a:t>
            </a:r>
            <a:r>
              <a:rPr lang="en-US" err="1"/>
              <a:t>mn</a:t>
            </a:r>
            <a:r>
              <a:rPr lang="en-US"/>
              <a:t>)</a:t>
            </a:r>
          </a:p>
        </p:txBody>
      </p:sp>
      <p:sp>
        <p:nvSpPr>
          <p:cNvPr id="8" name="Text Placeholder 7">
            <a:extLst>
              <a:ext uri="{FF2B5EF4-FFF2-40B4-BE49-F238E27FC236}">
                <a16:creationId xmlns:a16="http://schemas.microsoft.com/office/drawing/2014/main" id="{8FD6EF92-7AC8-92F2-2BC8-6884526D88D9}"/>
              </a:ext>
            </a:extLst>
          </p:cNvPr>
          <p:cNvSpPr>
            <a:spLocks noGrp="1"/>
          </p:cNvSpPr>
          <p:nvPr>
            <p:ph type="body" idx="27"/>
          </p:nvPr>
        </p:nvSpPr>
        <p:spPr/>
        <p:txBody>
          <a:bodyPr/>
          <a:lstStyle/>
          <a:p>
            <a:r>
              <a:rPr lang="en-US"/>
              <a:t>Commitment to Acquired Growth</a:t>
            </a:r>
          </a:p>
        </p:txBody>
      </p:sp>
      <p:graphicFrame>
        <p:nvGraphicFramePr>
          <p:cNvPr id="21" name="Content Placeholder 20">
            <a:extLst>
              <a:ext uri="{FF2B5EF4-FFF2-40B4-BE49-F238E27FC236}">
                <a16:creationId xmlns:a16="http://schemas.microsoft.com/office/drawing/2014/main" id="{F380039E-7D26-134B-54A4-67D0F9DE8393}"/>
              </a:ext>
            </a:extLst>
          </p:cNvPr>
          <p:cNvGraphicFramePr>
            <a:graphicFrameLocks noGrp="1"/>
          </p:cNvGraphicFramePr>
          <p:nvPr>
            <p:ph sz="quarter" idx="28"/>
            <p:extLst>
              <p:ext uri="{D42A27DB-BD31-4B8C-83A1-F6EECF244321}">
                <p14:modId xmlns:p14="http://schemas.microsoft.com/office/powerpoint/2010/main" val="57444803"/>
              </p:ext>
            </p:extLst>
          </p:nvPr>
        </p:nvGraphicFramePr>
        <p:xfrm>
          <a:off x="4751388" y="1384300"/>
          <a:ext cx="4141787" cy="2178050"/>
        </p:xfrm>
        <a:graphic>
          <a:graphicData uri="http://schemas.openxmlformats.org/drawingml/2006/chart">
            <c:chart xmlns:c="http://schemas.openxmlformats.org/drawingml/2006/chart" xmlns:r="http://schemas.openxmlformats.org/officeDocument/2006/relationships" r:id="rId5"/>
          </a:graphicData>
        </a:graphic>
      </p:graphicFrame>
      <p:sp>
        <p:nvSpPr>
          <p:cNvPr id="10" name="Content Placeholder 9">
            <a:extLst>
              <a:ext uri="{FF2B5EF4-FFF2-40B4-BE49-F238E27FC236}">
                <a16:creationId xmlns:a16="http://schemas.microsoft.com/office/drawing/2014/main" id="{44B205E4-DD12-44AD-BDE0-0DF9137D4EB0}"/>
              </a:ext>
            </a:extLst>
          </p:cNvPr>
          <p:cNvSpPr>
            <a:spLocks noGrp="1"/>
          </p:cNvSpPr>
          <p:nvPr>
            <p:ph sz="quarter" idx="29"/>
          </p:nvPr>
        </p:nvSpPr>
        <p:spPr>
          <a:xfrm>
            <a:off x="250824" y="4616800"/>
            <a:ext cx="1654175" cy="1615827"/>
          </a:xfrm>
        </p:spPr>
        <p:txBody>
          <a:bodyPr/>
          <a:lstStyle/>
          <a:p>
            <a:r>
              <a:rPr lang="en-US"/>
              <a:t>Add more providers in current areas to strengthen services and expand reach.</a:t>
            </a:r>
          </a:p>
          <a:p>
            <a:r>
              <a:rPr lang="en-US"/>
              <a:t>Become the go-to company for bringing together smaller players in the personal care market.</a:t>
            </a:r>
          </a:p>
        </p:txBody>
      </p:sp>
      <p:sp>
        <p:nvSpPr>
          <p:cNvPr id="11" name="Content Placeholder 10">
            <a:extLst>
              <a:ext uri="{FF2B5EF4-FFF2-40B4-BE49-F238E27FC236}">
                <a16:creationId xmlns:a16="http://schemas.microsoft.com/office/drawing/2014/main" id="{53B68ED9-2B8F-67FD-3E29-0470375CA74F}"/>
              </a:ext>
            </a:extLst>
          </p:cNvPr>
          <p:cNvSpPr>
            <a:spLocks noGrp="1"/>
          </p:cNvSpPr>
          <p:nvPr>
            <p:ph sz="quarter" idx="30"/>
          </p:nvPr>
        </p:nvSpPr>
        <p:spPr>
          <a:xfrm>
            <a:off x="4751388" y="4015454"/>
            <a:ext cx="2817812" cy="1047853"/>
          </a:xfrm>
        </p:spPr>
        <p:txBody>
          <a:bodyPr>
            <a:normAutofit lnSpcReduction="10000"/>
          </a:bodyPr>
          <a:lstStyle/>
          <a:p>
            <a:r>
              <a:rPr lang="en-US"/>
              <a:t>Primarily based in eastern states, Gentiva is a leading provider of non-medical personal care services, specializing in in-home support to promote independence and quality of life</a:t>
            </a:r>
          </a:p>
          <a:p>
            <a:r>
              <a:rPr lang="en-US"/>
              <a:t>They offer non-clinical, in-home support services to seniors, individuals with disabilities, and those recovering from illness or surgery.</a:t>
            </a:r>
          </a:p>
          <a:p>
            <a:endParaRPr lang="en-US"/>
          </a:p>
        </p:txBody>
      </p:sp>
      <p:sp>
        <p:nvSpPr>
          <p:cNvPr id="12" name="Text Placeholder 11">
            <a:extLst>
              <a:ext uri="{FF2B5EF4-FFF2-40B4-BE49-F238E27FC236}">
                <a16:creationId xmlns:a16="http://schemas.microsoft.com/office/drawing/2014/main" id="{3DBE1058-E718-4B90-2822-1E3AAA9635E0}"/>
              </a:ext>
            </a:extLst>
          </p:cNvPr>
          <p:cNvSpPr>
            <a:spLocks noGrp="1"/>
          </p:cNvSpPr>
          <p:nvPr>
            <p:ph type="body" idx="31"/>
          </p:nvPr>
        </p:nvSpPr>
        <p:spPr/>
        <p:txBody>
          <a:bodyPr/>
          <a:lstStyle/>
          <a:p>
            <a:r>
              <a:rPr lang="en-US"/>
              <a:t>Gentiva PCS Acquisition</a:t>
            </a:r>
          </a:p>
        </p:txBody>
      </p:sp>
      <p:sp>
        <p:nvSpPr>
          <p:cNvPr id="6" name="Rectangle 5">
            <a:extLst>
              <a:ext uri="{FF2B5EF4-FFF2-40B4-BE49-F238E27FC236}">
                <a16:creationId xmlns:a16="http://schemas.microsoft.com/office/drawing/2014/main" id="{A34D9168-27E9-D373-E535-3808AF5349D4}"/>
              </a:ext>
            </a:extLst>
          </p:cNvPr>
          <p:cNvSpPr/>
          <p:nvPr/>
        </p:nvSpPr>
        <p:spPr>
          <a:xfrm>
            <a:off x="250825" y="4015454"/>
            <a:ext cx="1654175" cy="5413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3" name="Rectangle 12">
            <a:extLst>
              <a:ext uri="{FF2B5EF4-FFF2-40B4-BE49-F238E27FC236}">
                <a16:creationId xmlns:a16="http://schemas.microsoft.com/office/drawing/2014/main" id="{AE4CCBF7-8C89-E48A-3022-E47577FF3558}"/>
              </a:ext>
            </a:extLst>
          </p:cNvPr>
          <p:cNvSpPr/>
          <p:nvPr/>
        </p:nvSpPr>
        <p:spPr>
          <a:xfrm>
            <a:off x="2738438" y="4015454"/>
            <a:ext cx="1654175" cy="5413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4" name="Plus Sign 13">
            <a:extLst>
              <a:ext uri="{FF2B5EF4-FFF2-40B4-BE49-F238E27FC236}">
                <a16:creationId xmlns:a16="http://schemas.microsoft.com/office/drawing/2014/main" id="{290E2676-F8A7-08F6-E459-B13EFB10B936}"/>
              </a:ext>
            </a:extLst>
          </p:cNvPr>
          <p:cNvSpPr/>
          <p:nvPr/>
        </p:nvSpPr>
        <p:spPr>
          <a:xfrm>
            <a:off x="2153762" y="4147185"/>
            <a:ext cx="325120" cy="2889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16" name="TextBox 15">
            <a:extLst>
              <a:ext uri="{FF2B5EF4-FFF2-40B4-BE49-F238E27FC236}">
                <a16:creationId xmlns:a16="http://schemas.microsoft.com/office/drawing/2014/main" id="{3DBC6F8A-28FB-0E88-B1A3-1C572DF825B5}"/>
              </a:ext>
            </a:extLst>
          </p:cNvPr>
          <p:cNvSpPr txBox="1"/>
          <p:nvPr/>
        </p:nvSpPr>
        <p:spPr>
          <a:xfrm>
            <a:off x="2738438" y="4602557"/>
            <a:ext cx="1654175" cy="1477328"/>
          </a:xfrm>
          <a:prstGeom prst="rect">
            <a:avLst/>
          </a:prstGeom>
          <a:noFill/>
        </p:spPr>
        <p:txBody>
          <a:bodyPr wrap="square" rtlCol="0">
            <a:spAutoFit/>
          </a:bodyPr>
          <a:lstStyle/>
          <a:p>
            <a:pPr marL="228600" indent="-228600">
              <a:lnSpc>
                <a:spcPct val="90000"/>
              </a:lnSpc>
              <a:spcBef>
                <a:spcPts val="1000"/>
              </a:spcBef>
              <a:buClr>
                <a:schemeClr val="accent1"/>
              </a:buClr>
              <a:buFont typeface="Wingdings" panose="05000000000000000000" pitchFamily="2" charset="2"/>
              <a:buChar char="§"/>
            </a:pPr>
            <a:r>
              <a:rPr lang="en-US" sz="900">
                <a:latin typeface="+mj-lt"/>
              </a:rPr>
              <a:t>Evaluate targets in states where </a:t>
            </a:r>
            <a:r>
              <a:rPr lang="en-US" sz="900" err="1">
                <a:latin typeface="+mj-lt"/>
              </a:rPr>
              <a:t>Addus</a:t>
            </a:r>
            <a:r>
              <a:rPr lang="en-US" sz="900">
                <a:latin typeface="+mj-lt"/>
              </a:rPr>
              <a:t> has opportunity to be a leading care provider</a:t>
            </a:r>
          </a:p>
          <a:p>
            <a:pPr marL="228600" indent="-228600">
              <a:lnSpc>
                <a:spcPct val="90000"/>
              </a:lnSpc>
              <a:spcBef>
                <a:spcPts val="1000"/>
              </a:spcBef>
              <a:buClr>
                <a:schemeClr val="accent1"/>
              </a:buClr>
              <a:buFont typeface="Wingdings" panose="05000000000000000000" pitchFamily="2" charset="2"/>
              <a:buChar char="§"/>
            </a:pPr>
            <a:r>
              <a:rPr lang="en-US" sz="900">
                <a:latin typeface="+mj-lt"/>
              </a:rPr>
              <a:t>Add selected complementary homebased care services (e.g. skilled care in combination with personal care)</a:t>
            </a:r>
            <a:endParaRPr lang="en-CA" sz="900">
              <a:latin typeface="+mj-lt"/>
            </a:endParaRPr>
          </a:p>
        </p:txBody>
      </p:sp>
      <p:sp>
        <p:nvSpPr>
          <p:cNvPr id="17" name="TextBox 16">
            <a:extLst>
              <a:ext uri="{FF2B5EF4-FFF2-40B4-BE49-F238E27FC236}">
                <a16:creationId xmlns:a16="http://schemas.microsoft.com/office/drawing/2014/main" id="{24D58427-2FC8-770A-AB18-42E1373D1606}"/>
              </a:ext>
            </a:extLst>
          </p:cNvPr>
          <p:cNvSpPr txBox="1"/>
          <p:nvPr/>
        </p:nvSpPr>
        <p:spPr>
          <a:xfrm>
            <a:off x="2727644" y="4050552"/>
            <a:ext cx="1654175" cy="461665"/>
          </a:xfrm>
          <a:prstGeom prst="rect">
            <a:avLst/>
          </a:prstGeom>
          <a:noFill/>
        </p:spPr>
        <p:txBody>
          <a:bodyPr wrap="square" rtlCol="0">
            <a:spAutoFit/>
          </a:bodyPr>
          <a:lstStyle/>
          <a:p>
            <a:pPr algn="ctr"/>
            <a:r>
              <a:rPr lang="en-CA" sz="1200">
                <a:solidFill>
                  <a:schemeClr val="bg1"/>
                </a:solidFill>
              </a:rPr>
              <a:t>Adjacent Markets / Services</a:t>
            </a:r>
          </a:p>
        </p:txBody>
      </p:sp>
      <p:sp>
        <p:nvSpPr>
          <p:cNvPr id="18" name="TextBox 17">
            <a:extLst>
              <a:ext uri="{FF2B5EF4-FFF2-40B4-BE49-F238E27FC236}">
                <a16:creationId xmlns:a16="http://schemas.microsoft.com/office/drawing/2014/main" id="{6277E484-BF3D-D1E4-D785-E1B0FBAAB566}"/>
              </a:ext>
            </a:extLst>
          </p:cNvPr>
          <p:cNvSpPr txBox="1"/>
          <p:nvPr/>
        </p:nvSpPr>
        <p:spPr>
          <a:xfrm>
            <a:off x="250825" y="4060815"/>
            <a:ext cx="1654175" cy="461665"/>
          </a:xfrm>
          <a:prstGeom prst="rect">
            <a:avLst/>
          </a:prstGeom>
          <a:noFill/>
        </p:spPr>
        <p:txBody>
          <a:bodyPr wrap="square" rtlCol="0">
            <a:spAutoFit/>
          </a:bodyPr>
          <a:lstStyle/>
          <a:p>
            <a:pPr algn="ctr"/>
            <a:r>
              <a:rPr lang="en-CA" sz="1200">
                <a:solidFill>
                  <a:schemeClr val="bg1"/>
                </a:solidFill>
              </a:rPr>
              <a:t>Existing Markets / Services</a:t>
            </a:r>
          </a:p>
        </p:txBody>
      </p:sp>
      <p:sp>
        <p:nvSpPr>
          <p:cNvPr id="22" name="Content Placeholder 10">
            <a:extLst>
              <a:ext uri="{FF2B5EF4-FFF2-40B4-BE49-F238E27FC236}">
                <a16:creationId xmlns:a16="http://schemas.microsoft.com/office/drawing/2014/main" id="{5CACCE5C-21CE-6821-E661-4C0B7DA3E2D5}"/>
              </a:ext>
            </a:extLst>
          </p:cNvPr>
          <p:cNvSpPr txBox="1">
            <a:spLocks/>
          </p:cNvSpPr>
          <p:nvPr/>
        </p:nvSpPr>
        <p:spPr>
          <a:xfrm>
            <a:off x="4751386" y="5063307"/>
            <a:ext cx="4141785" cy="11693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Gentiva broadens </a:t>
            </a:r>
            <a:r>
              <a:rPr lang="en-US" err="1"/>
              <a:t>Addus’s</a:t>
            </a:r>
            <a:r>
              <a:rPr lang="en-US"/>
              <a:t> personal care exposure and further cements </a:t>
            </a:r>
            <a:r>
              <a:rPr lang="en-US" err="1"/>
              <a:t>Addus</a:t>
            </a:r>
            <a:r>
              <a:rPr lang="en-US"/>
              <a:t> as one of the few consolidated and scaled home care platforms</a:t>
            </a:r>
          </a:p>
          <a:p>
            <a:r>
              <a:rPr lang="en-US"/>
              <a:t>Through its acquisition of Gentiva, </a:t>
            </a:r>
            <a:r>
              <a:rPr lang="en-US" err="1"/>
              <a:t>Addus</a:t>
            </a:r>
            <a:r>
              <a:rPr lang="en-US"/>
              <a:t> enters Kentucky, Alabama, and Mississippi. This expansion helps strengthen </a:t>
            </a:r>
            <a:r>
              <a:rPr lang="en-US" err="1"/>
              <a:t>Addus</a:t>
            </a:r>
            <a:r>
              <a:rPr lang="en-US"/>
              <a:t>' presence in the southeastern U.S. and aligned with its strategy to grow in new markets.</a:t>
            </a:r>
          </a:p>
        </p:txBody>
      </p:sp>
      <p:pic>
        <p:nvPicPr>
          <p:cNvPr id="1026" name="Picture 2" descr="GENTIVA PERSONAL CARE - Updated November 2024 - 56 Boone Trl, North  Wilkesboro, North Carolina - Home Health Care - Phone Number - Yelp">
            <a:extLst>
              <a:ext uri="{FF2B5EF4-FFF2-40B4-BE49-F238E27FC236}">
                <a16:creationId xmlns:a16="http://schemas.microsoft.com/office/drawing/2014/main" id="{51E66449-2734-DD28-0AEF-261C3AA394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87420" y="3963817"/>
            <a:ext cx="1019179" cy="1019179"/>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0D917534-AE89-B416-461F-DCA92FA9DF3E}"/>
              </a:ext>
            </a:extLst>
          </p:cNvPr>
          <p:cNvSpPr/>
          <p:nvPr/>
        </p:nvSpPr>
        <p:spPr>
          <a:xfrm>
            <a:off x="7133113" y="1500463"/>
            <a:ext cx="1560037" cy="5151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5" name="TextBox 24">
            <a:extLst>
              <a:ext uri="{FF2B5EF4-FFF2-40B4-BE49-F238E27FC236}">
                <a16:creationId xmlns:a16="http://schemas.microsoft.com/office/drawing/2014/main" id="{17B91C36-6D14-DBE6-954E-A5186136A75C}"/>
              </a:ext>
            </a:extLst>
          </p:cNvPr>
          <p:cNvSpPr txBox="1"/>
          <p:nvPr/>
        </p:nvSpPr>
        <p:spPr>
          <a:xfrm>
            <a:off x="7086043" y="1542584"/>
            <a:ext cx="1654175" cy="430887"/>
          </a:xfrm>
          <a:prstGeom prst="rect">
            <a:avLst/>
          </a:prstGeom>
          <a:noFill/>
        </p:spPr>
        <p:txBody>
          <a:bodyPr wrap="square" rtlCol="0">
            <a:spAutoFit/>
          </a:bodyPr>
          <a:lstStyle/>
          <a:p>
            <a:pPr algn="ctr"/>
            <a:r>
              <a:rPr lang="en-CA" sz="1050">
                <a:solidFill>
                  <a:schemeClr val="bg1"/>
                </a:solidFill>
              </a:rPr>
              <a:t>Average Acquisition Price: $71.79 mil </a:t>
            </a:r>
          </a:p>
        </p:txBody>
      </p:sp>
    </p:spTree>
    <p:extLst>
      <p:ext uri="{BB962C8B-B14F-4D97-AF65-F5344CB8AC3E}">
        <p14:creationId xmlns:p14="http://schemas.microsoft.com/office/powerpoint/2010/main" val="3575588535"/>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023E8-1E52-E7A3-8BCF-0C3AED81D531}"/>
              </a:ext>
            </a:extLst>
          </p:cNvPr>
          <p:cNvSpPr>
            <a:spLocks noGrp="1"/>
          </p:cNvSpPr>
          <p:nvPr>
            <p:ph type="title"/>
          </p:nvPr>
        </p:nvSpPr>
        <p:spPr/>
        <p:txBody>
          <a:bodyPr/>
          <a:lstStyle/>
          <a:p>
            <a:r>
              <a:rPr lang="en-CA"/>
              <a:t>D. Valuation</a:t>
            </a:r>
          </a:p>
        </p:txBody>
      </p:sp>
      <p:sp>
        <p:nvSpPr>
          <p:cNvPr id="3" name="Text Placeholder 2">
            <a:extLst>
              <a:ext uri="{FF2B5EF4-FFF2-40B4-BE49-F238E27FC236}">
                <a16:creationId xmlns:a16="http://schemas.microsoft.com/office/drawing/2014/main" id="{E907EFC1-BA2E-BE73-20F3-EDA26152098E}"/>
              </a:ext>
            </a:extLst>
          </p:cNvPr>
          <p:cNvSpPr>
            <a:spLocks noGrp="1"/>
          </p:cNvSpPr>
          <p:nvPr>
            <p:ph type="body" sz="quarter" idx="18"/>
          </p:nvPr>
        </p:nvSpPr>
        <p:spPr/>
        <p:txBody>
          <a:bodyPr/>
          <a:lstStyle/>
          <a:p>
            <a:endParaRPr lang="en-CA"/>
          </a:p>
        </p:txBody>
      </p:sp>
      <p:sp>
        <p:nvSpPr>
          <p:cNvPr id="6" name="Text Placeholder 5">
            <a:extLst>
              <a:ext uri="{FF2B5EF4-FFF2-40B4-BE49-F238E27FC236}">
                <a16:creationId xmlns:a16="http://schemas.microsoft.com/office/drawing/2014/main" id="{31E75F42-A6FB-0D34-9F60-A5FDFA683B67}"/>
              </a:ext>
            </a:extLst>
          </p:cNvPr>
          <p:cNvSpPr>
            <a:spLocks noGrp="1"/>
          </p:cNvSpPr>
          <p:nvPr>
            <p:ph type="body" sz="quarter" idx="19"/>
          </p:nvPr>
        </p:nvSpPr>
        <p:spPr/>
        <p:txBody>
          <a:bodyPr/>
          <a:lstStyle/>
          <a:p>
            <a:endParaRPr lang="en-CA"/>
          </a:p>
        </p:txBody>
      </p:sp>
    </p:spTree>
    <p:extLst>
      <p:ext uri="{BB962C8B-B14F-4D97-AF65-F5344CB8AC3E}">
        <p14:creationId xmlns:p14="http://schemas.microsoft.com/office/powerpoint/2010/main" val="37964763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78E48F-175D-2D12-A1AB-F768C69A594B}"/>
            </a:ext>
          </a:extLst>
        </p:cNvPr>
        <p:cNvGrpSpPr/>
        <p:nvPr/>
      </p:nvGrpSpPr>
      <p:grpSpPr>
        <a:xfrm>
          <a:off x="0" y="0"/>
          <a:ext cx="0" cy="0"/>
          <a:chOff x="0" y="0"/>
          <a:chExt cx="0" cy="0"/>
        </a:xfrm>
      </p:grpSpPr>
      <p:sp>
        <p:nvSpPr>
          <p:cNvPr id="10" name="Text Placeholder 9">
            <a:extLst>
              <a:ext uri="{FF2B5EF4-FFF2-40B4-BE49-F238E27FC236}">
                <a16:creationId xmlns:a16="http://schemas.microsoft.com/office/drawing/2014/main" id="{796F738E-E4A4-5335-1995-6A8CF4633480}"/>
              </a:ext>
            </a:extLst>
          </p:cNvPr>
          <p:cNvSpPr>
            <a:spLocks noGrp="1"/>
          </p:cNvSpPr>
          <p:nvPr>
            <p:ph type="body" sz="quarter" idx="13"/>
          </p:nvPr>
        </p:nvSpPr>
        <p:spPr/>
        <p:txBody>
          <a:bodyPr/>
          <a:lstStyle/>
          <a:p>
            <a:r>
              <a:rPr lang="en-CA"/>
              <a:t>Source(s): </a:t>
            </a:r>
            <a:r>
              <a:rPr lang="en-US"/>
              <a:t>Bloomberg, S&amp;P Capital IQ, </a:t>
            </a:r>
            <a:r>
              <a:rPr lang="en-US" err="1"/>
              <a:t>Addus</a:t>
            </a:r>
            <a:r>
              <a:rPr lang="en-US"/>
              <a:t> 10-K</a:t>
            </a:r>
          </a:p>
        </p:txBody>
      </p:sp>
      <p:sp>
        <p:nvSpPr>
          <p:cNvPr id="3" name="Text Placeholder 2">
            <a:extLst>
              <a:ext uri="{FF2B5EF4-FFF2-40B4-BE49-F238E27FC236}">
                <a16:creationId xmlns:a16="http://schemas.microsoft.com/office/drawing/2014/main" id="{B83B66E2-F5EC-089B-9231-57C8158C3F58}"/>
              </a:ext>
            </a:extLst>
          </p:cNvPr>
          <p:cNvSpPr>
            <a:spLocks noGrp="1"/>
          </p:cNvSpPr>
          <p:nvPr>
            <p:ph type="body" sz="quarter" idx="21"/>
          </p:nvPr>
        </p:nvSpPr>
        <p:spPr/>
        <p:txBody>
          <a:bodyPr/>
          <a:lstStyle/>
          <a:p>
            <a:r>
              <a:rPr lang="en-US"/>
              <a:t>Strong upside potential due to industry trends and market share.</a:t>
            </a:r>
            <a:endParaRPr lang="en-CA">
              <a:highlight>
                <a:srgbClr val="FFFF00"/>
              </a:highlight>
            </a:endParaRPr>
          </a:p>
        </p:txBody>
      </p:sp>
      <p:sp>
        <p:nvSpPr>
          <p:cNvPr id="4" name="Title 3">
            <a:extLst>
              <a:ext uri="{FF2B5EF4-FFF2-40B4-BE49-F238E27FC236}">
                <a16:creationId xmlns:a16="http://schemas.microsoft.com/office/drawing/2014/main" id="{D7AFA2DB-6C34-E5CB-3F89-2A78A2BC332A}"/>
              </a:ext>
            </a:extLst>
          </p:cNvPr>
          <p:cNvSpPr>
            <a:spLocks noGrp="1"/>
          </p:cNvSpPr>
          <p:nvPr>
            <p:ph type="title"/>
          </p:nvPr>
        </p:nvSpPr>
        <p:spPr/>
        <p:txBody>
          <a:bodyPr/>
          <a:lstStyle/>
          <a:p>
            <a:r>
              <a:rPr lang="en-US"/>
              <a:t>Drivers and Assumptions to Valuation</a:t>
            </a:r>
            <a:endParaRPr lang="en-CA"/>
          </a:p>
        </p:txBody>
      </p:sp>
      <p:sp>
        <p:nvSpPr>
          <p:cNvPr id="6" name="Content Placeholder 21">
            <a:extLst>
              <a:ext uri="{FF2B5EF4-FFF2-40B4-BE49-F238E27FC236}">
                <a16:creationId xmlns:a16="http://schemas.microsoft.com/office/drawing/2014/main" id="{391F8529-822A-C29E-2A00-504476DF8E88}"/>
              </a:ext>
            </a:extLst>
          </p:cNvPr>
          <p:cNvSpPr>
            <a:spLocks noGrp="1"/>
          </p:cNvSpPr>
          <p:nvPr>
            <p:ph sz="quarter" idx="23"/>
          </p:nvPr>
        </p:nvSpPr>
        <p:spPr/>
        <p:txBody>
          <a:bodyPr>
            <a:normAutofit/>
          </a:bodyPr>
          <a:lstStyle/>
          <a:p>
            <a:r>
              <a:rPr lang="en-CA" b="1">
                <a:latin typeface="+mn-lt"/>
              </a:rPr>
              <a:t>Revenue Growth: </a:t>
            </a:r>
            <a:r>
              <a:rPr lang="en-US">
                <a:latin typeface="+mn-lt"/>
              </a:rPr>
              <a:t>The first five years of projected revenue growth are fueled by management's commitment to an aggressive strategy, combining robust organic expansion with targeted acquisitions, growing at a CAGR of 9.30% The long-term growth then tapers towards the terminal growth rate of 2.50%.</a:t>
            </a:r>
          </a:p>
          <a:p>
            <a:r>
              <a:rPr lang="en-US" b="1">
                <a:latin typeface="+mn-lt"/>
              </a:rPr>
              <a:t>Cost of Goods Sold: </a:t>
            </a:r>
            <a:r>
              <a:rPr lang="en-US">
                <a:latin typeface="+mn-lt"/>
              </a:rPr>
              <a:t>COGS is assumed to align with the historical 5-year average before stabilizing at </a:t>
            </a:r>
            <a:r>
              <a:rPr lang="en-US" b="1">
                <a:latin typeface="+mn-lt"/>
              </a:rPr>
              <a:t>67%</a:t>
            </a:r>
            <a:r>
              <a:rPr lang="en-US">
                <a:latin typeface="+mn-lt"/>
              </a:rPr>
              <a:t>, reflecting efficiencies gained as the company scales its operations and benefits from economies of scale. This stabilization marks a shift from its aggressive growth phase to a more sustainable, mature business model, with improved cost management and streamlined service delivery.</a:t>
            </a:r>
          </a:p>
          <a:p>
            <a:r>
              <a:rPr lang="en-US" b="1">
                <a:latin typeface="+mn-lt"/>
              </a:rPr>
              <a:t>D&amp;A: </a:t>
            </a:r>
            <a:r>
              <a:rPr lang="en-US">
                <a:latin typeface="+mn-lt"/>
              </a:rPr>
              <a:t> Depreciation stays consistent with the 5-year average to reflect limited change in purchase of depreciating assets.</a:t>
            </a:r>
          </a:p>
          <a:p>
            <a:r>
              <a:rPr lang="en-US" b="1">
                <a:latin typeface="+mn-lt"/>
              </a:rPr>
              <a:t>WACC: </a:t>
            </a:r>
            <a:r>
              <a:rPr lang="en-US">
                <a:latin typeface="+mn-lt"/>
              </a:rPr>
              <a:t>The WACC was calculated using a re-levered beta of 1.05 from the optimal capital structure of industry peers as well as Damodaran’s approach for the equity risk premium calculation. The 4.41% risk free rate was derived from the 10-year U.S. Treasury Bond to get a WACC of </a:t>
            </a:r>
            <a:r>
              <a:rPr lang="en-US" b="1">
                <a:latin typeface="+mn-lt"/>
              </a:rPr>
              <a:t>8.18%.</a:t>
            </a:r>
          </a:p>
          <a:p>
            <a:r>
              <a:rPr lang="en-US" b="1">
                <a:latin typeface="+mn-lt"/>
              </a:rPr>
              <a:t>Terminal Growth Rate: </a:t>
            </a:r>
            <a:r>
              <a:rPr lang="en-US">
                <a:latin typeface="+mn-lt"/>
              </a:rPr>
              <a:t>A terminal growth rate of </a:t>
            </a:r>
            <a:r>
              <a:rPr lang="en-US" b="1">
                <a:latin typeface="+mn-lt"/>
              </a:rPr>
              <a:t>2.50%</a:t>
            </a:r>
            <a:r>
              <a:rPr lang="en-US">
                <a:latin typeface="+mn-lt"/>
              </a:rPr>
              <a:t> was chosen as it reflects a conservative yet realistic approach to future growth in the homecare industry, accounting for demographic trends such as an aging population and increasing demand for in-home care services, while remaining mindful of potential market saturation and competition.</a:t>
            </a:r>
          </a:p>
          <a:p>
            <a:r>
              <a:rPr lang="en-US" b="1">
                <a:latin typeface="+mn-lt"/>
              </a:rPr>
              <a:t>Valuation Weightings: </a:t>
            </a:r>
            <a:r>
              <a:rPr lang="en-US">
                <a:latin typeface="+mn-lt"/>
              </a:rPr>
              <a:t>A 70/30 weighting was applied to the DCF and RV, reflecting the inconsistencies in revenue mix, multiples and business model structure between </a:t>
            </a:r>
            <a:r>
              <a:rPr lang="en-US" err="1">
                <a:latin typeface="+mn-lt"/>
              </a:rPr>
              <a:t>Addus</a:t>
            </a:r>
            <a:r>
              <a:rPr lang="en-US">
                <a:latin typeface="+mn-lt"/>
              </a:rPr>
              <a:t> Homecare and their competitors.</a:t>
            </a:r>
          </a:p>
          <a:p>
            <a:pPr lvl="1"/>
            <a:r>
              <a:rPr lang="en-US" b="1">
                <a:latin typeface="+mn-lt"/>
              </a:rPr>
              <a:t>TGR: </a:t>
            </a:r>
            <a:r>
              <a:rPr lang="en-US">
                <a:latin typeface="+mn-lt"/>
              </a:rPr>
              <a:t>35%</a:t>
            </a:r>
            <a:endParaRPr lang="en-US" b="1">
              <a:latin typeface="+mn-lt"/>
            </a:endParaRPr>
          </a:p>
          <a:p>
            <a:pPr lvl="1"/>
            <a:r>
              <a:rPr lang="en-US" b="1">
                <a:latin typeface="+mn-lt"/>
              </a:rPr>
              <a:t>Exit Multiple: </a:t>
            </a:r>
            <a:r>
              <a:rPr lang="en-US">
                <a:latin typeface="+mn-lt"/>
              </a:rPr>
              <a:t>35%</a:t>
            </a:r>
            <a:endParaRPr lang="en-US" b="1">
              <a:latin typeface="+mn-lt"/>
            </a:endParaRPr>
          </a:p>
          <a:p>
            <a:pPr lvl="1"/>
            <a:r>
              <a:rPr lang="en-US" b="1">
                <a:latin typeface="+mn-lt"/>
              </a:rPr>
              <a:t>RV: </a:t>
            </a:r>
            <a:r>
              <a:rPr lang="en-US">
                <a:latin typeface="+mn-lt"/>
              </a:rPr>
              <a:t>30%</a:t>
            </a:r>
          </a:p>
          <a:p>
            <a:endParaRPr lang="en-CA" b="1">
              <a:latin typeface="+mn-lt"/>
            </a:endParaRPr>
          </a:p>
        </p:txBody>
      </p:sp>
      <p:sp>
        <p:nvSpPr>
          <p:cNvPr id="7" name="Text Placeholder 6">
            <a:extLst>
              <a:ext uri="{FF2B5EF4-FFF2-40B4-BE49-F238E27FC236}">
                <a16:creationId xmlns:a16="http://schemas.microsoft.com/office/drawing/2014/main" id="{32CE9CA8-E5B4-B71C-8C42-4E2DEDEA469C}"/>
              </a:ext>
            </a:extLst>
          </p:cNvPr>
          <p:cNvSpPr>
            <a:spLocks noGrp="1"/>
          </p:cNvSpPr>
          <p:nvPr>
            <p:ph type="body" idx="26"/>
          </p:nvPr>
        </p:nvSpPr>
        <p:spPr/>
        <p:txBody>
          <a:bodyPr/>
          <a:lstStyle/>
          <a:p>
            <a:r>
              <a:rPr lang="en-US"/>
              <a:t>Key Drivers &amp; Assumptions</a:t>
            </a:r>
            <a:endParaRPr lang="en-CA"/>
          </a:p>
        </p:txBody>
      </p:sp>
      <p:sp>
        <p:nvSpPr>
          <p:cNvPr id="22" name="Text Placeholder 6">
            <a:extLst>
              <a:ext uri="{FF2B5EF4-FFF2-40B4-BE49-F238E27FC236}">
                <a16:creationId xmlns:a16="http://schemas.microsoft.com/office/drawing/2014/main" id="{E56A9CB0-0BCA-D6E8-272B-9D3B67529B87}"/>
              </a:ext>
            </a:extLst>
          </p:cNvPr>
          <p:cNvSpPr txBox="1">
            <a:spLocks/>
          </p:cNvSpPr>
          <p:nvPr/>
        </p:nvSpPr>
        <p:spPr>
          <a:xfrm>
            <a:off x="4746422" y="3677578"/>
            <a:ext cx="4141787" cy="240199"/>
          </a:xfrm>
          <a:prstGeom prst="rect">
            <a:avLst/>
          </a:prstGeom>
          <a:noFill/>
          <a:ln>
            <a:noFill/>
          </a:ln>
        </p:spPr>
        <p:txBody>
          <a:bodyPr spcFirstLastPara="1" vert="horz" wrap="square" lIns="91425" tIns="45700" rIns="91425" bIns="45700" rtlCol="0" anchor="ctr" anchorCtr="0">
            <a:normAutofit lnSpcReduction="10000"/>
          </a:bodyPr>
          <a:lstStyle>
            <a:lvl1pPr marL="0" lvl="0" indent="0" algn="l" defTabSz="914400" rtl="0" eaLnBrk="1" latinLnBrk="0" hangingPunct="1">
              <a:lnSpc>
                <a:spcPct val="90000"/>
              </a:lnSpc>
              <a:spcBef>
                <a:spcPts val="0"/>
              </a:spcBef>
              <a:spcAft>
                <a:spcPts val="0"/>
              </a:spcAft>
              <a:buClr>
                <a:schemeClr val="accent1"/>
              </a:buClr>
              <a:buSzPts val="1600"/>
              <a:buFont typeface="Wingdings" panose="05000000000000000000" pitchFamily="2" charset="2"/>
              <a:buNone/>
              <a:defRPr sz="1200" b="1" kern="1200">
                <a:solidFill>
                  <a:schemeClr val="accent1"/>
                </a:solidFill>
                <a:latin typeface="+mj-lt"/>
                <a:ea typeface="+mn-ea"/>
                <a:cs typeface="Goldman Sans Regular" panose="020B0603020203020204" pitchFamily="34" charset="0"/>
              </a:defRPr>
            </a:lvl1pPr>
            <a:lvl2pPr marL="685800" lvl="1"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1028700" lvl="2" indent="-257175" algn="l" defTabSz="914400" rtl="0" eaLnBrk="1" latinLnBrk="0" hangingPunct="1">
              <a:lnSpc>
                <a:spcPct val="90000"/>
              </a:lnSpc>
              <a:spcBef>
                <a:spcPts val="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1371600" lvl="3"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714500" lvl="4"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057400" lvl="5" indent="-171450" algn="l" defTabSz="914400" rtl="0" eaLnBrk="1" latinLnBrk="0" hangingPunct="1">
              <a:lnSpc>
                <a:spcPct val="90000"/>
              </a:lnSpc>
              <a:spcBef>
                <a:spcPts val="450"/>
              </a:spcBef>
              <a:spcAft>
                <a:spcPts val="0"/>
              </a:spcAft>
              <a:buClr>
                <a:schemeClr val="accent1"/>
              </a:buClr>
              <a:buSzPts val="1400"/>
              <a:buFont typeface="Wingdings" panose="05000000000000000000" pitchFamily="2" charset="2"/>
              <a:buNone/>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400300" lvl="6" indent="-171450" algn="l" defTabSz="914400" rtl="0" eaLnBrk="1" latinLnBrk="0" hangingPunct="1">
              <a:lnSpc>
                <a:spcPct val="90000"/>
              </a:lnSpc>
              <a:spcBef>
                <a:spcPts val="0"/>
              </a:spcBef>
              <a:spcAft>
                <a:spcPts val="0"/>
              </a:spcAft>
              <a:buClr>
                <a:schemeClr val="accent1"/>
              </a:buClr>
              <a:buSzPts val="1400"/>
              <a:buFont typeface="Wingdings" panose="05000000000000000000" pitchFamily="2" charset="2"/>
              <a:buNone/>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2743200" lvl="7" indent="-171450" algn="l" defTabSz="914400" rtl="0" eaLnBrk="1" latinLnBrk="0" hangingPunct="1">
              <a:lnSpc>
                <a:spcPct val="90000"/>
              </a:lnSpc>
              <a:spcBef>
                <a:spcPts val="0"/>
              </a:spcBef>
              <a:spcAft>
                <a:spcPts val="0"/>
              </a:spcAft>
              <a:buSzPts val="1400"/>
              <a:buFont typeface="Arial" panose="020B0604020202020204" pitchFamily="34" charset="0"/>
              <a:buNone/>
              <a:defRPr sz="1800" kern="1200">
                <a:solidFill>
                  <a:schemeClr val="tx1"/>
                </a:solidFill>
                <a:latin typeface="+mn-lt"/>
                <a:ea typeface="+mn-ea"/>
                <a:cs typeface="+mn-cs"/>
              </a:defRPr>
            </a:lvl8pPr>
            <a:lvl9pPr marL="3086100" lvl="8" indent="-171450" algn="l" defTabSz="914400" rtl="0" eaLnBrk="1" latinLnBrk="0" hangingPunct="1">
              <a:lnSpc>
                <a:spcPct val="90000"/>
              </a:lnSpc>
              <a:spcBef>
                <a:spcPts val="0"/>
              </a:spcBef>
              <a:spcAft>
                <a:spcPts val="0"/>
              </a:spcAft>
              <a:buSzPts val="1400"/>
              <a:buFont typeface="Arial" panose="020B0604020202020204" pitchFamily="34" charset="0"/>
              <a:buNone/>
              <a:defRPr sz="1800" kern="1200">
                <a:solidFill>
                  <a:schemeClr val="tx1"/>
                </a:solidFill>
                <a:latin typeface="+mn-lt"/>
                <a:ea typeface="+mn-ea"/>
                <a:cs typeface="+mn-cs"/>
              </a:defRPr>
            </a:lvl9pPr>
          </a:lstStyle>
          <a:p>
            <a:r>
              <a:rPr lang="en-US"/>
              <a:t>Cost of Goods Sold </a:t>
            </a:r>
            <a:r>
              <a:rPr lang="en-US" i="1"/>
              <a:t>(in $USD </a:t>
            </a:r>
            <a:r>
              <a:rPr lang="en-US" i="1" err="1"/>
              <a:t>mn</a:t>
            </a:r>
            <a:r>
              <a:rPr lang="en-US" i="1"/>
              <a:t>)</a:t>
            </a:r>
            <a:endParaRPr lang="en-CA" i="1"/>
          </a:p>
        </p:txBody>
      </p:sp>
      <p:sp>
        <p:nvSpPr>
          <p:cNvPr id="18" name="Isosceles Triangle 17">
            <a:extLst>
              <a:ext uri="{FF2B5EF4-FFF2-40B4-BE49-F238E27FC236}">
                <a16:creationId xmlns:a16="http://schemas.microsoft.com/office/drawing/2014/main" id="{B135031F-7C2C-0FCB-773D-5D1B7D62284B}"/>
              </a:ext>
            </a:extLst>
          </p:cNvPr>
          <p:cNvSpPr/>
          <p:nvPr/>
        </p:nvSpPr>
        <p:spPr>
          <a:xfrm rot="5400000">
            <a:off x="3416394" y="2466859"/>
            <a:ext cx="2195513"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1" name="Isosceles Triangle 20">
            <a:extLst>
              <a:ext uri="{FF2B5EF4-FFF2-40B4-BE49-F238E27FC236}">
                <a16:creationId xmlns:a16="http://schemas.microsoft.com/office/drawing/2014/main" id="{FE0FA195-2253-96E0-6AB9-9C5A0695DF75}"/>
              </a:ext>
            </a:extLst>
          </p:cNvPr>
          <p:cNvSpPr/>
          <p:nvPr/>
        </p:nvSpPr>
        <p:spPr>
          <a:xfrm rot="5400000">
            <a:off x="3416394" y="4931403"/>
            <a:ext cx="2195513" cy="1800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3" name="Text Placeholder 6">
            <a:extLst>
              <a:ext uri="{FF2B5EF4-FFF2-40B4-BE49-F238E27FC236}">
                <a16:creationId xmlns:a16="http://schemas.microsoft.com/office/drawing/2014/main" id="{9D141905-6766-798B-110C-C95AA9BF7771}"/>
              </a:ext>
            </a:extLst>
          </p:cNvPr>
          <p:cNvSpPr txBox="1">
            <a:spLocks/>
          </p:cNvSpPr>
          <p:nvPr/>
        </p:nvSpPr>
        <p:spPr>
          <a:xfrm>
            <a:off x="4680713" y="1047343"/>
            <a:ext cx="4141787" cy="240199"/>
          </a:xfrm>
          <a:prstGeom prst="rect">
            <a:avLst/>
          </a:prstGeom>
          <a:noFill/>
          <a:ln>
            <a:noFill/>
          </a:ln>
        </p:spPr>
        <p:txBody>
          <a:bodyPr spcFirstLastPara="1" vert="horz" wrap="square" lIns="91425" tIns="45700" rIns="91425" bIns="45700" rtlCol="0" anchor="ctr" anchorCtr="0">
            <a:normAutofit lnSpcReduction="10000"/>
          </a:bodyPr>
          <a:lstStyle>
            <a:lvl1pPr marL="0" lvl="0" indent="0" algn="l" defTabSz="914400" rtl="0" eaLnBrk="1" latinLnBrk="0" hangingPunct="1">
              <a:lnSpc>
                <a:spcPct val="90000"/>
              </a:lnSpc>
              <a:spcBef>
                <a:spcPts val="0"/>
              </a:spcBef>
              <a:spcAft>
                <a:spcPts val="0"/>
              </a:spcAft>
              <a:buClr>
                <a:schemeClr val="accent1"/>
              </a:buClr>
              <a:buSzPts val="1600"/>
              <a:buFont typeface="Wingdings" panose="05000000000000000000" pitchFamily="2" charset="2"/>
              <a:buNone/>
              <a:defRPr sz="1200" b="1" kern="1200">
                <a:solidFill>
                  <a:schemeClr val="accent1"/>
                </a:solidFill>
                <a:latin typeface="+mj-lt"/>
                <a:ea typeface="+mn-ea"/>
                <a:cs typeface="Goldman Sans Regular" panose="020B0603020203020204" pitchFamily="34" charset="0"/>
              </a:defRPr>
            </a:lvl1pPr>
            <a:lvl2pPr marL="685800" lvl="1"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1028700" lvl="2" indent="-257175" algn="l" defTabSz="914400" rtl="0" eaLnBrk="1" latinLnBrk="0" hangingPunct="1">
              <a:lnSpc>
                <a:spcPct val="90000"/>
              </a:lnSpc>
              <a:spcBef>
                <a:spcPts val="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1371600" lvl="3"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714500" lvl="4" indent="-257175" algn="l" defTabSz="914400" rtl="0" eaLnBrk="1" latinLnBrk="0" hangingPunct="1">
              <a:lnSpc>
                <a:spcPct val="90000"/>
              </a:lnSpc>
              <a:spcBef>
                <a:spcPts val="450"/>
              </a:spcBef>
              <a:spcAft>
                <a:spcPts val="0"/>
              </a:spcAft>
              <a:buClr>
                <a:schemeClr val="accent1"/>
              </a:buClr>
              <a:buSzPts val="1800"/>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057400" lvl="5" indent="-171450" algn="l" defTabSz="914400" rtl="0" eaLnBrk="1" latinLnBrk="0" hangingPunct="1">
              <a:lnSpc>
                <a:spcPct val="90000"/>
              </a:lnSpc>
              <a:spcBef>
                <a:spcPts val="450"/>
              </a:spcBef>
              <a:spcAft>
                <a:spcPts val="0"/>
              </a:spcAft>
              <a:buClr>
                <a:schemeClr val="accent1"/>
              </a:buClr>
              <a:buSzPts val="1400"/>
              <a:buFont typeface="Wingdings" panose="05000000000000000000" pitchFamily="2" charset="2"/>
              <a:buNone/>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400300" lvl="6" indent="-171450" algn="l" defTabSz="914400" rtl="0" eaLnBrk="1" latinLnBrk="0" hangingPunct="1">
              <a:lnSpc>
                <a:spcPct val="90000"/>
              </a:lnSpc>
              <a:spcBef>
                <a:spcPts val="0"/>
              </a:spcBef>
              <a:spcAft>
                <a:spcPts val="0"/>
              </a:spcAft>
              <a:buClr>
                <a:schemeClr val="accent1"/>
              </a:buClr>
              <a:buSzPts val="1400"/>
              <a:buFont typeface="Wingdings" panose="05000000000000000000" pitchFamily="2" charset="2"/>
              <a:buNone/>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2743200" lvl="7" indent="-171450" algn="l" defTabSz="914400" rtl="0" eaLnBrk="1" latinLnBrk="0" hangingPunct="1">
              <a:lnSpc>
                <a:spcPct val="90000"/>
              </a:lnSpc>
              <a:spcBef>
                <a:spcPts val="0"/>
              </a:spcBef>
              <a:spcAft>
                <a:spcPts val="0"/>
              </a:spcAft>
              <a:buSzPts val="1400"/>
              <a:buFont typeface="Arial" panose="020B0604020202020204" pitchFamily="34" charset="0"/>
              <a:buNone/>
              <a:defRPr sz="1800" kern="1200">
                <a:solidFill>
                  <a:schemeClr val="tx1"/>
                </a:solidFill>
                <a:latin typeface="+mn-lt"/>
                <a:ea typeface="+mn-ea"/>
                <a:cs typeface="+mn-cs"/>
              </a:defRPr>
            </a:lvl8pPr>
            <a:lvl9pPr marL="3086100" lvl="8" indent="-171450" algn="l" defTabSz="914400" rtl="0" eaLnBrk="1" latinLnBrk="0" hangingPunct="1">
              <a:lnSpc>
                <a:spcPct val="90000"/>
              </a:lnSpc>
              <a:spcBef>
                <a:spcPts val="0"/>
              </a:spcBef>
              <a:spcAft>
                <a:spcPts val="0"/>
              </a:spcAft>
              <a:buSzPts val="1400"/>
              <a:buFont typeface="Arial" panose="020B0604020202020204" pitchFamily="34" charset="0"/>
              <a:buNone/>
              <a:defRPr sz="1800" kern="1200">
                <a:solidFill>
                  <a:schemeClr val="tx1"/>
                </a:solidFill>
                <a:latin typeface="+mn-lt"/>
                <a:ea typeface="+mn-ea"/>
                <a:cs typeface="+mn-cs"/>
              </a:defRPr>
            </a:lvl9pPr>
          </a:lstStyle>
          <a:p>
            <a:r>
              <a:rPr lang="en-US"/>
              <a:t>Revenue </a:t>
            </a:r>
            <a:r>
              <a:rPr lang="en-US" i="1"/>
              <a:t>(in $USD </a:t>
            </a:r>
            <a:r>
              <a:rPr lang="en-US" i="1" err="1"/>
              <a:t>mn</a:t>
            </a:r>
            <a:r>
              <a:rPr lang="en-US" i="1"/>
              <a:t>)</a:t>
            </a:r>
            <a:endParaRPr lang="en-CA" i="1"/>
          </a:p>
        </p:txBody>
      </p:sp>
      <p:sp>
        <p:nvSpPr>
          <p:cNvPr id="13" name="TextBox 12">
            <a:extLst>
              <a:ext uri="{FF2B5EF4-FFF2-40B4-BE49-F238E27FC236}">
                <a16:creationId xmlns:a16="http://schemas.microsoft.com/office/drawing/2014/main" id="{C16568B9-D993-EB4F-21AA-FD53B7462798}"/>
              </a:ext>
            </a:extLst>
          </p:cNvPr>
          <p:cNvSpPr txBox="1"/>
          <p:nvPr/>
        </p:nvSpPr>
        <p:spPr>
          <a:xfrm>
            <a:off x="5499100" y="1415818"/>
            <a:ext cx="2108200" cy="443009"/>
          </a:xfrm>
          <a:prstGeom prst="rect">
            <a:avLst/>
          </a:prstGeom>
          <a:noFill/>
        </p:spPr>
        <p:txBody>
          <a:bodyPr wrap="square" rtlCol="0">
            <a:spAutoFit/>
          </a:bodyPr>
          <a:lstStyle/>
          <a:p>
            <a:endParaRPr lang="en-CA"/>
          </a:p>
        </p:txBody>
      </p:sp>
      <p:graphicFrame>
        <p:nvGraphicFramePr>
          <p:cNvPr id="27" name="Chart 26">
            <a:extLst>
              <a:ext uri="{FF2B5EF4-FFF2-40B4-BE49-F238E27FC236}">
                <a16:creationId xmlns:a16="http://schemas.microsoft.com/office/drawing/2014/main" id="{7D90D7F4-F6AA-92B6-B42B-9B7524FC48BD}"/>
              </a:ext>
            </a:extLst>
          </p:cNvPr>
          <p:cNvGraphicFramePr/>
          <p:nvPr>
            <p:extLst>
              <p:ext uri="{D42A27DB-BD31-4B8C-83A1-F6EECF244321}">
                <p14:modId xmlns:p14="http://schemas.microsoft.com/office/powerpoint/2010/main" val="849821792"/>
              </p:ext>
            </p:extLst>
          </p:nvPr>
        </p:nvGraphicFramePr>
        <p:xfrm>
          <a:off x="4787152" y="1379223"/>
          <a:ext cx="4035347" cy="2293275"/>
        </p:xfrm>
        <a:graphic>
          <a:graphicData uri="http://schemas.openxmlformats.org/drawingml/2006/chart">
            <c:chart xmlns:c="http://schemas.openxmlformats.org/drawingml/2006/chart" xmlns:r="http://schemas.openxmlformats.org/officeDocument/2006/relationships" r:id="rId3"/>
          </a:graphicData>
        </a:graphic>
      </p:graphicFrame>
      <p:cxnSp>
        <p:nvCxnSpPr>
          <p:cNvPr id="28" name="Straight Connector 27">
            <a:extLst>
              <a:ext uri="{FF2B5EF4-FFF2-40B4-BE49-F238E27FC236}">
                <a16:creationId xmlns:a16="http://schemas.microsoft.com/office/drawing/2014/main" id="{A4C4E5ED-63B0-6D75-413F-68A733740D06}"/>
              </a:ext>
            </a:extLst>
          </p:cNvPr>
          <p:cNvCxnSpPr>
            <a:cxnSpLocks/>
          </p:cNvCxnSpPr>
          <p:nvPr/>
        </p:nvCxnSpPr>
        <p:spPr>
          <a:xfrm flipV="1">
            <a:off x="8533170" y="1557866"/>
            <a:ext cx="0" cy="13813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AD735FE-20AC-ECB7-1B3B-86B7199DFC44}"/>
              </a:ext>
            </a:extLst>
          </p:cNvPr>
          <p:cNvCxnSpPr>
            <a:cxnSpLocks/>
          </p:cNvCxnSpPr>
          <p:nvPr/>
        </p:nvCxnSpPr>
        <p:spPr>
          <a:xfrm flipH="1">
            <a:off x="7005934" y="1557866"/>
            <a:ext cx="1527236"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3EEECABE-5B64-79ED-BE1B-0AC7AEAFCBC6}"/>
              </a:ext>
            </a:extLst>
          </p:cNvPr>
          <p:cNvSpPr/>
          <p:nvPr/>
        </p:nvSpPr>
        <p:spPr>
          <a:xfrm>
            <a:off x="7307891" y="1446402"/>
            <a:ext cx="907008" cy="192204"/>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900" b="1">
                <a:solidFill>
                  <a:schemeClr val="tx1"/>
                </a:solidFill>
              </a:rPr>
              <a:t>9.30% CAGR</a:t>
            </a:r>
          </a:p>
        </p:txBody>
      </p:sp>
      <p:cxnSp>
        <p:nvCxnSpPr>
          <p:cNvPr id="32" name="Straight Connector 31">
            <a:extLst>
              <a:ext uri="{FF2B5EF4-FFF2-40B4-BE49-F238E27FC236}">
                <a16:creationId xmlns:a16="http://schemas.microsoft.com/office/drawing/2014/main" id="{21B36681-6E74-5D5A-AE4B-C51FA37AF1BC}"/>
              </a:ext>
            </a:extLst>
          </p:cNvPr>
          <p:cNvCxnSpPr>
            <a:cxnSpLocks/>
          </p:cNvCxnSpPr>
          <p:nvPr/>
        </p:nvCxnSpPr>
        <p:spPr>
          <a:xfrm flipV="1">
            <a:off x="7005934" y="1557866"/>
            <a:ext cx="0" cy="626583"/>
          </a:xfrm>
          <a:prstGeom prst="line">
            <a:avLst/>
          </a:prstGeom>
          <a:ln w="12700"/>
        </p:spPr>
        <p:style>
          <a:lnRef idx="1">
            <a:schemeClr val="accent1"/>
          </a:lnRef>
          <a:fillRef idx="0">
            <a:schemeClr val="accent1"/>
          </a:fillRef>
          <a:effectRef idx="0">
            <a:schemeClr val="accent1"/>
          </a:effectRef>
          <a:fontRef idx="minor">
            <a:schemeClr val="tx1"/>
          </a:fontRef>
        </p:style>
      </p:cxnSp>
      <p:graphicFrame>
        <p:nvGraphicFramePr>
          <p:cNvPr id="43" name="Chart 42">
            <a:extLst>
              <a:ext uri="{FF2B5EF4-FFF2-40B4-BE49-F238E27FC236}">
                <a16:creationId xmlns:a16="http://schemas.microsoft.com/office/drawing/2014/main" id="{6722475D-9D56-AA89-4130-52845B49CCA3}"/>
              </a:ext>
            </a:extLst>
          </p:cNvPr>
          <p:cNvGraphicFramePr/>
          <p:nvPr>
            <p:extLst>
              <p:ext uri="{D42A27DB-BD31-4B8C-83A1-F6EECF244321}">
                <p14:modId xmlns:p14="http://schemas.microsoft.com/office/powerpoint/2010/main" val="759072381"/>
              </p:ext>
            </p:extLst>
          </p:nvPr>
        </p:nvGraphicFramePr>
        <p:xfrm>
          <a:off x="4787152" y="4028642"/>
          <a:ext cx="4101056" cy="2177370"/>
        </p:xfrm>
        <a:graphic>
          <a:graphicData uri="http://schemas.openxmlformats.org/drawingml/2006/chart">
            <c:chart xmlns:c="http://schemas.openxmlformats.org/drawingml/2006/chart" xmlns:r="http://schemas.openxmlformats.org/officeDocument/2006/relationships" r:id="rId4"/>
          </a:graphicData>
        </a:graphic>
      </p:graphicFrame>
      <p:cxnSp>
        <p:nvCxnSpPr>
          <p:cNvPr id="44" name="Straight Connector 43">
            <a:extLst>
              <a:ext uri="{FF2B5EF4-FFF2-40B4-BE49-F238E27FC236}">
                <a16:creationId xmlns:a16="http://schemas.microsoft.com/office/drawing/2014/main" id="{5924C6FF-B141-AA22-2C6F-272A35DAF041}"/>
              </a:ext>
            </a:extLst>
          </p:cNvPr>
          <p:cNvCxnSpPr>
            <a:cxnSpLocks/>
          </p:cNvCxnSpPr>
          <p:nvPr/>
        </p:nvCxnSpPr>
        <p:spPr>
          <a:xfrm flipV="1">
            <a:off x="7037157" y="4210050"/>
            <a:ext cx="0" cy="61637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1D6BC53-F6C5-E1F4-72F4-7B2A117C0EF8}"/>
              </a:ext>
            </a:extLst>
          </p:cNvPr>
          <p:cNvCxnSpPr>
            <a:cxnSpLocks/>
          </p:cNvCxnSpPr>
          <p:nvPr/>
        </p:nvCxnSpPr>
        <p:spPr>
          <a:xfrm flipV="1">
            <a:off x="8599934" y="4210050"/>
            <a:ext cx="0" cy="18732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CCDCB1C1-1375-35F3-CA3D-22D369DAE23C}"/>
              </a:ext>
            </a:extLst>
          </p:cNvPr>
          <p:cNvSpPr/>
          <p:nvPr/>
        </p:nvSpPr>
        <p:spPr>
          <a:xfrm>
            <a:off x="7365042" y="4113948"/>
            <a:ext cx="907008" cy="192204"/>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900" b="1">
                <a:solidFill>
                  <a:schemeClr val="tx1"/>
                </a:solidFill>
              </a:rPr>
              <a:t>8.11% CAGR</a:t>
            </a:r>
          </a:p>
        </p:txBody>
      </p:sp>
    </p:spTree>
    <p:extLst>
      <p:ext uri="{BB962C8B-B14F-4D97-AF65-F5344CB8AC3E}">
        <p14:creationId xmlns:p14="http://schemas.microsoft.com/office/powerpoint/2010/main" val="24143996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8B6372-E58C-0116-2FE5-9A0E31580D3A}"/>
              </a:ext>
            </a:extLst>
          </p:cNvPr>
          <p:cNvSpPr>
            <a:spLocks noGrp="1"/>
          </p:cNvSpPr>
          <p:nvPr>
            <p:ph type="body" sz="quarter" idx="13"/>
          </p:nvPr>
        </p:nvSpPr>
        <p:spPr/>
        <p:txBody>
          <a:bodyPr/>
          <a:lstStyle/>
          <a:p>
            <a:r>
              <a:rPr lang="en-CA"/>
              <a:t>Sources: </a:t>
            </a:r>
            <a:r>
              <a:rPr lang="en-CA" err="1"/>
              <a:t>Factset</a:t>
            </a:r>
            <a:r>
              <a:rPr lang="en-CA"/>
              <a:t>, Capital IQ</a:t>
            </a:r>
          </a:p>
        </p:txBody>
      </p:sp>
      <p:sp>
        <p:nvSpPr>
          <p:cNvPr id="3" name="Text Placeholder 2">
            <a:extLst>
              <a:ext uri="{FF2B5EF4-FFF2-40B4-BE49-F238E27FC236}">
                <a16:creationId xmlns:a16="http://schemas.microsoft.com/office/drawing/2014/main" id="{8A8E625D-A13F-2B7F-3C6D-64B9C794055B}"/>
              </a:ext>
            </a:extLst>
          </p:cNvPr>
          <p:cNvSpPr>
            <a:spLocks noGrp="1"/>
          </p:cNvSpPr>
          <p:nvPr>
            <p:ph type="body" sz="quarter" idx="21"/>
          </p:nvPr>
        </p:nvSpPr>
        <p:spPr/>
        <p:txBody>
          <a:bodyPr/>
          <a:lstStyle/>
          <a:p>
            <a:r>
              <a:rPr lang="en-CA"/>
              <a:t>Base case RV</a:t>
            </a:r>
          </a:p>
        </p:txBody>
      </p:sp>
      <p:sp>
        <p:nvSpPr>
          <p:cNvPr id="4" name="Title 3">
            <a:extLst>
              <a:ext uri="{FF2B5EF4-FFF2-40B4-BE49-F238E27FC236}">
                <a16:creationId xmlns:a16="http://schemas.microsoft.com/office/drawing/2014/main" id="{0C3D022B-BCB7-65DF-6912-47F5E01664DC}"/>
              </a:ext>
            </a:extLst>
          </p:cNvPr>
          <p:cNvSpPr>
            <a:spLocks noGrp="1"/>
          </p:cNvSpPr>
          <p:nvPr>
            <p:ph type="title"/>
          </p:nvPr>
        </p:nvSpPr>
        <p:spPr/>
        <p:txBody>
          <a:bodyPr/>
          <a:lstStyle/>
          <a:p>
            <a:r>
              <a:rPr lang="en-CA"/>
              <a:t>Relative Valuation Summary</a:t>
            </a:r>
          </a:p>
        </p:txBody>
      </p:sp>
      <p:sp>
        <p:nvSpPr>
          <p:cNvPr id="6" name="Text Placeholder 5">
            <a:extLst>
              <a:ext uri="{FF2B5EF4-FFF2-40B4-BE49-F238E27FC236}">
                <a16:creationId xmlns:a16="http://schemas.microsoft.com/office/drawing/2014/main" id="{9E05CEE4-8928-CEBC-E604-AC26B02F59D0}"/>
              </a:ext>
            </a:extLst>
          </p:cNvPr>
          <p:cNvSpPr>
            <a:spLocks noGrp="1"/>
          </p:cNvSpPr>
          <p:nvPr>
            <p:ph type="body" idx="26"/>
          </p:nvPr>
        </p:nvSpPr>
        <p:spPr/>
        <p:txBody>
          <a:bodyPr/>
          <a:lstStyle/>
          <a:p>
            <a:r>
              <a:rPr lang="en-CA"/>
              <a:t>Multiple Valuations</a:t>
            </a:r>
          </a:p>
        </p:txBody>
      </p:sp>
      <p:sp>
        <p:nvSpPr>
          <p:cNvPr id="7" name="Text Placeholder 6">
            <a:extLst>
              <a:ext uri="{FF2B5EF4-FFF2-40B4-BE49-F238E27FC236}">
                <a16:creationId xmlns:a16="http://schemas.microsoft.com/office/drawing/2014/main" id="{28D3116F-D0FD-5C6C-4C83-C52CE1A4277F}"/>
              </a:ext>
            </a:extLst>
          </p:cNvPr>
          <p:cNvSpPr>
            <a:spLocks noGrp="1"/>
          </p:cNvSpPr>
          <p:nvPr>
            <p:ph type="body" idx="27"/>
          </p:nvPr>
        </p:nvSpPr>
        <p:spPr/>
        <p:txBody>
          <a:bodyPr/>
          <a:lstStyle/>
          <a:p>
            <a:r>
              <a:rPr lang="en-CA"/>
              <a:t>Trading Output</a:t>
            </a:r>
          </a:p>
        </p:txBody>
      </p:sp>
      <p:graphicFrame>
        <p:nvGraphicFramePr>
          <p:cNvPr id="15" name="Table 14">
            <a:extLst>
              <a:ext uri="{FF2B5EF4-FFF2-40B4-BE49-F238E27FC236}">
                <a16:creationId xmlns:a16="http://schemas.microsoft.com/office/drawing/2014/main" id="{9B3A2610-B5D0-1EBD-C2E8-19C290E4838E}"/>
              </a:ext>
            </a:extLst>
          </p:cNvPr>
          <p:cNvGraphicFramePr>
            <a:graphicFrameLocks noGrp="1"/>
          </p:cNvGraphicFramePr>
          <p:nvPr>
            <p:extLst>
              <p:ext uri="{D42A27DB-BD31-4B8C-83A1-F6EECF244321}">
                <p14:modId xmlns:p14="http://schemas.microsoft.com/office/powerpoint/2010/main" val="1709906613"/>
              </p:ext>
            </p:extLst>
          </p:nvPr>
        </p:nvGraphicFramePr>
        <p:xfrm>
          <a:off x="250823" y="4056471"/>
          <a:ext cx="8642348" cy="2081866"/>
        </p:xfrm>
        <a:graphic>
          <a:graphicData uri="http://schemas.openxmlformats.org/drawingml/2006/table">
            <a:tbl>
              <a:tblPr/>
              <a:tblGrid>
                <a:gridCol w="3164138">
                  <a:extLst>
                    <a:ext uri="{9D8B030D-6E8A-4147-A177-3AD203B41FA5}">
                      <a16:colId xmlns:a16="http://schemas.microsoft.com/office/drawing/2014/main" val="738161263"/>
                    </a:ext>
                  </a:extLst>
                </a:gridCol>
                <a:gridCol w="913035">
                  <a:extLst>
                    <a:ext uri="{9D8B030D-6E8A-4147-A177-3AD203B41FA5}">
                      <a16:colId xmlns:a16="http://schemas.microsoft.com/office/drawing/2014/main" val="2609439657"/>
                    </a:ext>
                  </a:extLst>
                </a:gridCol>
                <a:gridCol w="913035">
                  <a:extLst>
                    <a:ext uri="{9D8B030D-6E8A-4147-A177-3AD203B41FA5}">
                      <a16:colId xmlns:a16="http://schemas.microsoft.com/office/drawing/2014/main" val="3695610584"/>
                    </a:ext>
                  </a:extLst>
                </a:gridCol>
                <a:gridCol w="913035">
                  <a:extLst>
                    <a:ext uri="{9D8B030D-6E8A-4147-A177-3AD203B41FA5}">
                      <a16:colId xmlns:a16="http://schemas.microsoft.com/office/drawing/2014/main" val="2489816115"/>
                    </a:ext>
                  </a:extLst>
                </a:gridCol>
                <a:gridCol w="913035">
                  <a:extLst>
                    <a:ext uri="{9D8B030D-6E8A-4147-A177-3AD203B41FA5}">
                      <a16:colId xmlns:a16="http://schemas.microsoft.com/office/drawing/2014/main" val="1862205098"/>
                    </a:ext>
                  </a:extLst>
                </a:gridCol>
                <a:gridCol w="913035">
                  <a:extLst>
                    <a:ext uri="{9D8B030D-6E8A-4147-A177-3AD203B41FA5}">
                      <a16:colId xmlns:a16="http://schemas.microsoft.com/office/drawing/2014/main" val="1808272992"/>
                    </a:ext>
                  </a:extLst>
                </a:gridCol>
                <a:gridCol w="913035">
                  <a:extLst>
                    <a:ext uri="{9D8B030D-6E8A-4147-A177-3AD203B41FA5}">
                      <a16:colId xmlns:a16="http://schemas.microsoft.com/office/drawing/2014/main" val="589019176"/>
                    </a:ext>
                  </a:extLst>
                </a:gridCol>
              </a:tblGrid>
              <a:tr h="253033">
                <a:tc>
                  <a:txBody>
                    <a:bodyPr/>
                    <a:lstStyle/>
                    <a:p>
                      <a:pPr algn="l" fontAlgn="b"/>
                      <a:r>
                        <a:rPr lang="en-CA" sz="800" b="1" i="0" u="none" strike="noStrike">
                          <a:solidFill>
                            <a:srgbClr val="000000"/>
                          </a:solidFill>
                          <a:effectLst/>
                          <a:latin typeface="Arial" panose="020B0604020202020204" pitchFamily="34" charset="0"/>
                        </a:rPr>
                        <a:t> </a:t>
                      </a:r>
                    </a:p>
                  </a:txBody>
                  <a:tcPr marL="5454" marR="5454" marT="5454"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0F3557"/>
                    </a:solidFill>
                  </a:tcPr>
                </a:tc>
                <a:tc gridSpan="6">
                  <a:txBody>
                    <a:bodyPr/>
                    <a:lstStyle/>
                    <a:p>
                      <a:pPr algn="ctr" fontAlgn="b"/>
                      <a:r>
                        <a:rPr lang="en-CA" sz="700" b="1" i="0" u="none" strike="noStrike">
                          <a:solidFill>
                            <a:srgbClr val="FFFFFF"/>
                          </a:solidFill>
                          <a:effectLst/>
                          <a:latin typeface="Arial" panose="020B0604020202020204" pitchFamily="34" charset="0"/>
                        </a:rPr>
                        <a:t>Market Data</a:t>
                      </a:r>
                    </a:p>
                  </a:txBody>
                  <a:tcPr marL="5454" marR="5454" marT="5454"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F3557"/>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854146767"/>
                  </a:ext>
                </a:extLst>
              </a:tr>
              <a:tr h="253033">
                <a:tc>
                  <a:txBody>
                    <a:bodyPr/>
                    <a:lstStyle/>
                    <a:p>
                      <a:pPr algn="ctr" fontAlgn="b"/>
                      <a:r>
                        <a:rPr lang="en-CA" sz="800" b="1" i="0" u="none" strike="noStrike">
                          <a:solidFill>
                            <a:srgbClr val="FFFFFF"/>
                          </a:solidFill>
                          <a:effectLst/>
                          <a:latin typeface="Arial" panose="020B0604020202020204" pitchFamily="34" charset="0"/>
                        </a:rPr>
                        <a:t>Company</a:t>
                      </a:r>
                    </a:p>
                  </a:txBody>
                  <a:tcPr marL="5454" marR="5454" marT="5454" marB="0" anchor="b">
                    <a:lnL w="12700" cap="flat" cmpd="sng" algn="ctr">
                      <a:solidFill>
                        <a:schemeClr val="tx1"/>
                      </a:solidFill>
                      <a:prstDash val="solid"/>
                      <a:round/>
                      <a:headEnd type="none" w="med" len="med"/>
                      <a:tailEnd type="none" w="med" len="med"/>
                    </a:lnL>
                    <a:lnR>
                      <a:noFill/>
                    </a:lnR>
                    <a:lnT>
                      <a:noFill/>
                    </a:lnT>
                    <a:lnB>
                      <a:noFill/>
                    </a:lnB>
                    <a:solidFill>
                      <a:srgbClr val="0F3557"/>
                    </a:solidFill>
                  </a:tcPr>
                </a:tc>
                <a:tc>
                  <a:txBody>
                    <a:bodyPr/>
                    <a:lstStyle/>
                    <a:p>
                      <a:pPr algn="ctr" fontAlgn="b"/>
                      <a:r>
                        <a:rPr lang="en-CA" sz="700" b="1" i="0" u="none" strike="noStrike">
                          <a:solidFill>
                            <a:srgbClr val="FFFFFF"/>
                          </a:solidFill>
                          <a:effectLst/>
                          <a:latin typeface="Arial" panose="020B0604020202020204" pitchFamily="34" charset="0"/>
                        </a:rPr>
                        <a:t>EV/Revenue 2024F</a:t>
                      </a:r>
                    </a:p>
                  </a:txBody>
                  <a:tcPr marL="5454" marR="5454" marT="5454" marB="0" anchor="b">
                    <a:lnL>
                      <a:noFill/>
                    </a:lnL>
                    <a:lnR>
                      <a:noFill/>
                    </a:lnR>
                    <a:lnT w="6350" cap="flat" cmpd="sng" algn="ctr">
                      <a:solidFill>
                        <a:srgbClr val="FFFFFF"/>
                      </a:solidFill>
                      <a:prstDash val="solid"/>
                      <a:round/>
                      <a:headEnd type="none" w="med" len="med"/>
                      <a:tailEnd type="none" w="med" len="med"/>
                    </a:lnT>
                    <a:lnB>
                      <a:noFill/>
                    </a:lnB>
                    <a:solidFill>
                      <a:srgbClr val="0F3557"/>
                    </a:solidFill>
                  </a:tcPr>
                </a:tc>
                <a:tc>
                  <a:txBody>
                    <a:bodyPr/>
                    <a:lstStyle/>
                    <a:p>
                      <a:pPr algn="ctr" fontAlgn="b"/>
                      <a:r>
                        <a:rPr lang="en-CA" sz="700" b="1" i="0" u="none" strike="noStrike">
                          <a:solidFill>
                            <a:srgbClr val="FFFFFF"/>
                          </a:solidFill>
                          <a:effectLst/>
                          <a:latin typeface="Arial" panose="020B0604020202020204" pitchFamily="34" charset="0"/>
                        </a:rPr>
                        <a:t>EV/Revenue 2025F</a:t>
                      </a:r>
                    </a:p>
                  </a:txBody>
                  <a:tcPr marL="5454" marR="5454" marT="5454" marB="0" anchor="b">
                    <a:lnL>
                      <a:noFill/>
                    </a:lnL>
                    <a:lnR>
                      <a:noFill/>
                    </a:lnR>
                    <a:lnT w="6350" cap="flat" cmpd="sng" algn="ctr">
                      <a:solidFill>
                        <a:srgbClr val="FFFFFF"/>
                      </a:solidFill>
                      <a:prstDash val="solid"/>
                      <a:round/>
                      <a:headEnd type="none" w="med" len="med"/>
                      <a:tailEnd type="none" w="med" len="med"/>
                    </a:lnT>
                    <a:lnB>
                      <a:noFill/>
                    </a:lnB>
                    <a:solidFill>
                      <a:srgbClr val="0F3557"/>
                    </a:solidFill>
                  </a:tcPr>
                </a:tc>
                <a:tc>
                  <a:txBody>
                    <a:bodyPr/>
                    <a:lstStyle/>
                    <a:p>
                      <a:pPr algn="ctr" fontAlgn="b"/>
                      <a:r>
                        <a:rPr lang="en-CA" sz="700" b="1" i="0" u="none" strike="noStrike">
                          <a:solidFill>
                            <a:srgbClr val="FFFFFF"/>
                          </a:solidFill>
                          <a:effectLst/>
                          <a:latin typeface="Arial" panose="020B0604020202020204" pitchFamily="34" charset="0"/>
                        </a:rPr>
                        <a:t>EV/EBITDA 2024F</a:t>
                      </a:r>
                    </a:p>
                  </a:txBody>
                  <a:tcPr marL="5454" marR="5454" marT="5454" marB="0" anchor="b">
                    <a:lnL>
                      <a:noFill/>
                    </a:lnL>
                    <a:lnR>
                      <a:noFill/>
                    </a:lnR>
                    <a:lnT w="6350" cap="flat" cmpd="sng" algn="ctr">
                      <a:solidFill>
                        <a:srgbClr val="FFFFFF"/>
                      </a:solidFill>
                      <a:prstDash val="solid"/>
                      <a:round/>
                      <a:headEnd type="none" w="med" len="med"/>
                      <a:tailEnd type="none" w="med" len="med"/>
                    </a:lnT>
                    <a:lnB>
                      <a:noFill/>
                    </a:lnB>
                    <a:solidFill>
                      <a:srgbClr val="0F3557"/>
                    </a:solidFill>
                  </a:tcPr>
                </a:tc>
                <a:tc>
                  <a:txBody>
                    <a:bodyPr/>
                    <a:lstStyle/>
                    <a:p>
                      <a:pPr algn="ctr" fontAlgn="b"/>
                      <a:r>
                        <a:rPr lang="en-CA" sz="700" b="1" i="0" u="none" strike="noStrike">
                          <a:solidFill>
                            <a:srgbClr val="FFFFFF"/>
                          </a:solidFill>
                          <a:effectLst/>
                          <a:latin typeface="Arial" panose="020B0604020202020204" pitchFamily="34" charset="0"/>
                        </a:rPr>
                        <a:t>EV/EBITDA 2025F</a:t>
                      </a:r>
                    </a:p>
                  </a:txBody>
                  <a:tcPr marL="5454" marR="5454" marT="5454" marB="0" anchor="b">
                    <a:lnL>
                      <a:noFill/>
                    </a:lnL>
                    <a:lnR>
                      <a:noFill/>
                    </a:lnR>
                    <a:lnT w="6350" cap="flat" cmpd="sng" algn="ctr">
                      <a:solidFill>
                        <a:srgbClr val="FFFFFF"/>
                      </a:solidFill>
                      <a:prstDash val="solid"/>
                      <a:round/>
                      <a:headEnd type="none" w="med" len="med"/>
                      <a:tailEnd type="none" w="med" len="med"/>
                    </a:lnT>
                    <a:lnB>
                      <a:noFill/>
                    </a:lnB>
                    <a:solidFill>
                      <a:srgbClr val="0F3557"/>
                    </a:solidFill>
                  </a:tcPr>
                </a:tc>
                <a:tc>
                  <a:txBody>
                    <a:bodyPr/>
                    <a:lstStyle/>
                    <a:p>
                      <a:pPr algn="ctr" fontAlgn="b"/>
                      <a:r>
                        <a:rPr lang="en-CA" sz="700" b="1" i="0" u="none" strike="noStrike">
                          <a:solidFill>
                            <a:srgbClr val="FFFFFF"/>
                          </a:solidFill>
                          <a:effectLst/>
                          <a:latin typeface="Arial" panose="020B0604020202020204" pitchFamily="34" charset="0"/>
                        </a:rPr>
                        <a:t>P/E 2024F</a:t>
                      </a:r>
                    </a:p>
                  </a:txBody>
                  <a:tcPr marL="5454" marR="5454" marT="5454" marB="0" anchor="b">
                    <a:lnL>
                      <a:noFill/>
                    </a:lnL>
                    <a:lnR>
                      <a:noFill/>
                    </a:lnR>
                    <a:lnT w="6350" cap="flat" cmpd="sng" algn="ctr">
                      <a:solidFill>
                        <a:srgbClr val="FFFFFF"/>
                      </a:solidFill>
                      <a:prstDash val="solid"/>
                      <a:round/>
                      <a:headEnd type="none" w="med" len="med"/>
                      <a:tailEnd type="none" w="med" len="med"/>
                    </a:lnT>
                    <a:lnB>
                      <a:noFill/>
                    </a:lnB>
                    <a:solidFill>
                      <a:srgbClr val="0F3557"/>
                    </a:solidFill>
                  </a:tcPr>
                </a:tc>
                <a:tc>
                  <a:txBody>
                    <a:bodyPr/>
                    <a:lstStyle/>
                    <a:p>
                      <a:pPr algn="ctr" fontAlgn="b"/>
                      <a:r>
                        <a:rPr lang="en-CA" sz="700" b="1" i="0" u="none" strike="noStrike">
                          <a:solidFill>
                            <a:srgbClr val="FFFFFF"/>
                          </a:solidFill>
                          <a:effectLst/>
                          <a:latin typeface="Arial" panose="020B0604020202020204" pitchFamily="34" charset="0"/>
                        </a:rPr>
                        <a:t>P/E 2025F</a:t>
                      </a:r>
                    </a:p>
                  </a:txBody>
                  <a:tcPr marL="5454" marR="5454" marT="5454" marB="0" anchor="b">
                    <a:lnL>
                      <a:noFill/>
                    </a:lnL>
                    <a:lnR w="12700" cap="flat" cmpd="sng" algn="ctr">
                      <a:solidFill>
                        <a:schemeClr val="tx1"/>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F3557"/>
                    </a:solidFill>
                  </a:tcPr>
                </a:tc>
                <a:extLst>
                  <a:ext uri="{0D108BD9-81ED-4DB2-BD59-A6C34878D82A}">
                    <a16:rowId xmlns:a16="http://schemas.microsoft.com/office/drawing/2014/main" val="2027926224"/>
                  </a:ext>
                </a:extLst>
              </a:tr>
              <a:tr h="196975">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9202996"/>
                  </a:ext>
                </a:extLst>
              </a:tr>
              <a:tr h="196975">
                <a:tc>
                  <a:txBody>
                    <a:bodyPr/>
                    <a:lstStyle/>
                    <a:p>
                      <a:pPr algn="l" fontAlgn="b"/>
                      <a:r>
                        <a:rPr lang="en-CA" sz="800" b="0" i="0" u="none" strike="noStrike">
                          <a:solidFill>
                            <a:srgbClr val="000000"/>
                          </a:solidFill>
                          <a:effectLst/>
                          <a:latin typeface="Arial" panose="020B0604020202020204" pitchFamily="34" charset="0"/>
                        </a:rPr>
                        <a:t>Addus Homecare (NASDAQ: ADUS)</a:t>
                      </a:r>
                    </a:p>
                  </a:txBody>
                  <a:tcPr marL="5454" marR="5454" marT="5454"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1.8x</a:t>
                      </a:r>
                    </a:p>
                  </a:txBody>
                  <a:tcPr marL="5454" marR="5454" marT="545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1.6x</a:t>
                      </a:r>
                    </a:p>
                  </a:txBody>
                  <a:tcPr marL="5454" marR="5454" marT="545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14.4x</a:t>
                      </a:r>
                    </a:p>
                  </a:txBody>
                  <a:tcPr marL="5454" marR="5454" marT="545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13.2x</a:t>
                      </a:r>
                    </a:p>
                  </a:txBody>
                  <a:tcPr marL="5454" marR="5454" marT="545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28.1x</a:t>
                      </a:r>
                    </a:p>
                  </a:txBody>
                  <a:tcPr marL="5454" marR="5454" marT="545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26.3x</a:t>
                      </a:r>
                    </a:p>
                  </a:txBody>
                  <a:tcPr marL="5454" marR="5454" marT="5454"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3533823"/>
                  </a:ext>
                </a:extLst>
              </a:tr>
              <a:tr h="196975">
                <a:tc>
                  <a:txBody>
                    <a:bodyPr/>
                    <a:lstStyle/>
                    <a:p>
                      <a:pPr algn="l" fontAlgn="b"/>
                      <a:endParaRPr lang="en-CA" sz="800" b="1" i="0" u="none" strike="noStrike">
                        <a:solidFill>
                          <a:srgbClr val="000000"/>
                        </a:solidFill>
                        <a:effectLst/>
                        <a:latin typeface="Arial" panose="020B0604020202020204" pitchFamily="34" charset="0"/>
                      </a:endParaRPr>
                    </a:p>
                  </a:txBody>
                  <a:tcPr marL="5454" marR="5454" marT="5454"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312916631"/>
                  </a:ext>
                </a:extLst>
              </a:tr>
              <a:tr h="196975">
                <a:tc>
                  <a:txBody>
                    <a:bodyPr/>
                    <a:lstStyle/>
                    <a:p>
                      <a:pPr algn="l" fontAlgn="b"/>
                      <a:r>
                        <a:rPr lang="en-CA" sz="800" b="0" i="0" u="none" strike="noStrike">
                          <a:solidFill>
                            <a:srgbClr val="000000"/>
                          </a:solidFill>
                          <a:effectLst/>
                          <a:latin typeface="Arial" panose="020B0604020202020204" pitchFamily="34" charset="0"/>
                        </a:rPr>
                        <a:t>Amedisys, Inc (NASDAQ: AMED)</a:t>
                      </a:r>
                    </a:p>
                  </a:txBody>
                  <a:tcPr marL="5454" marR="5454" marT="5454"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1.4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1.3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12.6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11.7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21.0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18.4x</a:t>
                      </a:r>
                    </a:p>
                  </a:txBody>
                  <a:tcPr marL="5454" marR="5454" marT="5454"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954067164"/>
                  </a:ext>
                </a:extLst>
              </a:tr>
              <a:tr h="196975">
                <a:tc>
                  <a:txBody>
                    <a:bodyPr/>
                    <a:lstStyle/>
                    <a:p>
                      <a:pPr algn="l" fontAlgn="b"/>
                      <a:r>
                        <a:rPr lang="en-US" sz="800" b="0" i="0" u="none" strike="noStrike">
                          <a:solidFill>
                            <a:srgbClr val="000000"/>
                          </a:solidFill>
                          <a:effectLst/>
                          <a:latin typeface="Arial" panose="020B0604020202020204" pitchFamily="34" charset="0"/>
                        </a:rPr>
                        <a:t>Encompass Health Corporation (NYSE: EHC)</a:t>
                      </a:r>
                    </a:p>
                  </a:txBody>
                  <a:tcPr marL="5454" marR="5454" marT="5454"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2.4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2.2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11.8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10.8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23.5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21.3x</a:t>
                      </a:r>
                    </a:p>
                  </a:txBody>
                  <a:tcPr marL="5454" marR="5454" marT="5454"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058489754"/>
                  </a:ext>
                </a:extLst>
              </a:tr>
              <a:tr h="196975">
                <a:tc>
                  <a:txBody>
                    <a:bodyPr/>
                    <a:lstStyle/>
                    <a:p>
                      <a:pPr algn="l" fontAlgn="b"/>
                      <a:r>
                        <a:rPr lang="en-CA" sz="800" b="0" i="0" u="none" strike="noStrike">
                          <a:solidFill>
                            <a:srgbClr val="000000"/>
                          </a:solidFill>
                          <a:effectLst/>
                          <a:latin typeface="Arial" panose="020B0604020202020204" pitchFamily="34" charset="0"/>
                        </a:rPr>
                        <a:t>Chemed Corporation (NYSE: CHE)</a:t>
                      </a:r>
                    </a:p>
                  </a:txBody>
                  <a:tcPr marL="5454" marR="5454" marT="5454"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3.4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3.2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16.6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15.5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27.3x</a:t>
                      </a:r>
                    </a:p>
                  </a:txBody>
                  <a:tcPr marL="5454" marR="5454" marT="5454" marB="0" anchor="b">
                    <a:lnL>
                      <a:noFill/>
                    </a:lnL>
                    <a:lnR>
                      <a:noFill/>
                    </a:lnR>
                    <a:lnT>
                      <a:noFill/>
                    </a:lnT>
                    <a:lnB>
                      <a:noFill/>
                    </a:lnB>
                    <a:noFill/>
                  </a:tcPr>
                </a:tc>
                <a:tc>
                  <a:txBody>
                    <a:bodyPr/>
                    <a:lstStyle/>
                    <a:p>
                      <a:pPr algn="ctr" fontAlgn="b"/>
                      <a:r>
                        <a:rPr lang="en-CA" sz="800" b="0" i="0" u="none" strike="noStrike">
                          <a:solidFill>
                            <a:srgbClr val="000000"/>
                          </a:solidFill>
                          <a:effectLst/>
                          <a:latin typeface="Arial" panose="020B0604020202020204" pitchFamily="34" charset="0"/>
                        </a:rPr>
                        <a:t>23.9x</a:t>
                      </a:r>
                    </a:p>
                  </a:txBody>
                  <a:tcPr marL="5454" marR="5454" marT="5454"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861509645"/>
                  </a:ext>
                </a:extLst>
              </a:tr>
              <a:tr h="196975">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800" b="0" i="0" u="none" strike="noStrike">
                        <a:solidFill>
                          <a:srgbClr val="000000"/>
                        </a:solidFill>
                        <a:effectLst/>
                        <a:latin typeface="Arial" panose="020B0604020202020204" pitchFamily="34" charset="0"/>
                      </a:endParaRPr>
                    </a:p>
                  </a:txBody>
                  <a:tcPr marL="5454" marR="5454" marT="5454"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0126266"/>
                  </a:ext>
                </a:extLst>
              </a:tr>
              <a:tr h="196975">
                <a:tc>
                  <a:txBody>
                    <a:bodyPr/>
                    <a:lstStyle/>
                    <a:p>
                      <a:pPr algn="l" fontAlgn="b"/>
                      <a:r>
                        <a:rPr lang="en-CA" sz="800" b="0" i="0" u="none" strike="noStrike">
                          <a:solidFill>
                            <a:srgbClr val="000000"/>
                          </a:solidFill>
                          <a:effectLst/>
                          <a:latin typeface="Arial" panose="020B0604020202020204" pitchFamily="34" charset="0"/>
                        </a:rPr>
                        <a:t>Comp. Median</a:t>
                      </a:r>
                    </a:p>
                  </a:txBody>
                  <a:tcPr marL="5454" marR="5454" marT="5454"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2.4x</a:t>
                      </a:r>
                    </a:p>
                  </a:txBody>
                  <a:tcPr marL="5454" marR="5454" marT="545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2.2x</a:t>
                      </a:r>
                    </a:p>
                  </a:txBody>
                  <a:tcPr marL="5454" marR="5454" marT="5454"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12.6x</a:t>
                      </a:r>
                    </a:p>
                  </a:txBody>
                  <a:tcPr marL="5454" marR="5454" marT="5454"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11.7x</a:t>
                      </a:r>
                    </a:p>
                  </a:txBody>
                  <a:tcPr marL="5454" marR="5454" marT="5454"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23.5x</a:t>
                      </a:r>
                    </a:p>
                  </a:txBody>
                  <a:tcPr marL="5454" marR="5454" marT="5454"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800" b="0" i="0" u="none" strike="noStrike">
                          <a:solidFill>
                            <a:srgbClr val="000000"/>
                          </a:solidFill>
                          <a:effectLst/>
                          <a:latin typeface="Arial" panose="020B0604020202020204" pitchFamily="34" charset="0"/>
                        </a:rPr>
                        <a:t>21.3x</a:t>
                      </a:r>
                    </a:p>
                  </a:txBody>
                  <a:tcPr marL="5454" marR="5454" marT="5454"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8809735"/>
                  </a:ext>
                </a:extLst>
              </a:tr>
            </a:tbl>
          </a:graphicData>
        </a:graphic>
      </p:graphicFrame>
      <p:graphicFrame>
        <p:nvGraphicFramePr>
          <p:cNvPr id="17" name="Table 16">
            <a:extLst>
              <a:ext uri="{FF2B5EF4-FFF2-40B4-BE49-F238E27FC236}">
                <a16:creationId xmlns:a16="http://schemas.microsoft.com/office/drawing/2014/main" id="{7C01F457-68DF-297A-E354-F49F6E42B4F7}"/>
              </a:ext>
            </a:extLst>
          </p:cNvPr>
          <p:cNvGraphicFramePr>
            <a:graphicFrameLocks noGrp="1"/>
          </p:cNvGraphicFramePr>
          <p:nvPr>
            <p:extLst>
              <p:ext uri="{D42A27DB-BD31-4B8C-83A1-F6EECF244321}">
                <p14:modId xmlns:p14="http://schemas.microsoft.com/office/powerpoint/2010/main" val="438566029"/>
              </p:ext>
            </p:extLst>
          </p:nvPr>
        </p:nvGraphicFramePr>
        <p:xfrm>
          <a:off x="433917" y="1475313"/>
          <a:ext cx="2247900" cy="1953686"/>
        </p:xfrm>
        <a:graphic>
          <a:graphicData uri="http://schemas.openxmlformats.org/drawingml/2006/table">
            <a:tbl>
              <a:tblPr/>
              <a:tblGrid>
                <a:gridCol w="749300">
                  <a:extLst>
                    <a:ext uri="{9D8B030D-6E8A-4147-A177-3AD203B41FA5}">
                      <a16:colId xmlns:a16="http://schemas.microsoft.com/office/drawing/2014/main" val="2687731294"/>
                    </a:ext>
                  </a:extLst>
                </a:gridCol>
                <a:gridCol w="749300">
                  <a:extLst>
                    <a:ext uri="{9D8B030D-6E8A-4147-A177-3AD203B41FA5}">
                      <a16:colId xmlns:a16="http://schemas.microsoft.com/office/drawing/2014/main" val="4214032249"/>
                    </a:ext>
                  </a:extLst>
                </a:gridCol>
                <a:gridCol w="749300">
                  <a:extLst>
                    <a:ext uri="{9D8B030D-6E8A-4147-A177-3AD203B41FA5}">
                      <a16:colId xmlns:a16="http://schemas.microsoft.com/office/drawing/2014/main" val="3027424777"/>
                    </a:ext>
                  </a:extLst>
                </a:gridCol>
              </a:tblGrid>
              <a:tr h="225426">
                <a:tc gridSpan="3">
                  <a:txBody>
                    <a:bodyPr/>
                    <a:lstStyle/>
                    <a:p>
                      <a:pPr algn="ctr" fontAlgn="b"/>
                      <a:r>
                        <a:rPr lang="en-CA" sz="900" b="1" i="0" u="none" strike="noStrike">
                          <a:solidFill>
                            <a:srgbClr val="FFFFFF"/>
                          </a:solidFill>
                          <a:effectLst/>
                          <a:latin typeface="Arial" panose="020B0604020202020204" pitchFamily="34" charset="0"/>
                        </a:rPr>
                        <a:t>EV/Revenue Valuation</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717299492"/>
                  </a:ext>
                </a:extLst>
              </a:tr>
              <a:tr h="172826">
                <a:tc>
                  <a:txBody>
                    <a:bodyPr/>
                    <a:lstStyle/>
                    <a:p>
                      <a:pPr algn="l" fontAlgn="b"/>
                      <a:endParaRPr lang="en-CA" sz="900" b="1" i="0" u="none" strike="noStrike">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122447704"/>
                  </a:ext>
                </a:extLst>
              </a:tr>
              <a:tr h="172826">
                <a:tc gridSpan="2">
                  <a:txBody>
                    <a:bodyPr/>
                    <a:lstStyle/>
                    <a:p>
                      <a:pPr algn="l" fontAlgn="b"/>
                      <a:r>
                        <a:rPr lang="en-CA" sz="900" b="0" i="0" u="none" strike="noStrike">
                          <a:solidFill>
                            <a:srgbClr val="000000"/>
                          </a:solidFill>
                          <a:effectLst/>
                          <a:latin typeface="Arial" panose="020B0604020202020204" pitchFamily="34" charset="0"/>
                        </a:rPr>
                        <a:t>EV / 2025F Revenu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1" i="0" u="none" strike="noStrike">
                          <a:solidFill>
                            <a:srgbClr val="000000"/>
                          </a:solidFill>
                          <a:effectLst/>
                          <a:latin typeface="Arial" panose="020B0604020202020204" pitchFamily="34" charset="0"/>
                        </a:rPr>
                        <a:t>2.4x</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902083450"/>
                  </a:ext>
                </a:extLst>
              </a:tr>
              <a:tr h="172826">
                <a:tc gridSpan="2">
                  <a:txBody>
                    <a:bodyPr/>
                    <a:lstStyle/>
                    <a:p>
                      <a:pPr algn="l" fontAlgn="b"/>
                      <a:r>
                        <a:rPr lang="en-CA" sz="900" b="0" i="0" u="none" strike="noStrike">
                          <a:solidFill>
                            <a:srgbClr val="000000"/>
                          </a:solidFill>
                          <a:effectLst/>
                          <a:latin typeface="Arial" panose="020B0604020202020204" pitchFamily="34" charset="0"/>
                        </a:rPr>
                        <a:t>2025F Revenu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304.3</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482657812"/>
                  </a:ext>
                </a:extLst>
              </a:tr>
              <a:tr h="172826">
                <a:tc>
                  <a:txBody>
                    <a:bodyPr/>
                    <a:lstStyle/>
                    <a:p>
                      <a:pPr algn="l" fontAlgn="b"/>
                      <a:r>
                        <a:rPr lang="en-CA" sz="900" b="1" i="0" u="none" strike="noStrike">
                          <a:solidFill>
                            <a:srgbClr val="000000"/>
                          </a:solidFill>
                          <a:effectLst/>
                          <a:latin typeface="Arial" panose="020B0604020202020204" pitchFamily="34" charset="0"/>
                        </a:rPr>
                        <a:t>Implied EV</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3113.9</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685930073"/>
                  </a:ext>
                </a:extLst>
              </a:tr>
              <a:tr h="172826">
                <a:tc>
                  <a:txBody>
                    <a:bodyPr/>
                    <a:lstStyle/>
                    <a:p>
                      <a:pPr algn="l" fontAlgn="b"/>
                      <a:r>
                        <a:rPr lang="en-CA" sz="900" b="0" i="0" u="none" strike="noStrike">
                          <a:solidFill>
                            <a:srgbClr val="000000"/>
                          </a:solidFill>
                          <a:effectLst/>
                          <a:latin typeface="Arial" panose="020B0604020202020204" pitchFamily="34" charset="0"/>
                        </a:rPr>
                        <a:t>(-) Net Debt</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73.1</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672659697"/>
                  </a:ext>
                </a:extLst>
              </a:tr>
              <a:tr h="172826">
                <a:tc gridSpan="2">
                  <a:txBody>
                    <a:bodyPr/>
                    <a:lstStyle/>
                    <a:p>
                      <a:pPr algn="l" fontAlgn="b"/>
                      <a:r>
                        <a:rPr lang="en-CA" sz="900" b="1" i="0" u="none" strike="noStrike">
                          <a:solidFill>
                            <a:srgbClr val="000000"/>
                          </a:solidFill>
                          <a:effectLst/>
                          <a:latin typeface="Arial" panose="020B0604020202020204" pitchFamily="34" charset="0"/>
                        </a:rPr>
                        <a:t>Implied Equity Valu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3287.0</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131825022"/>
                  </a:ext>
                </a:extLst>
              </a:tr>
              <a:tr h="172826">
                <a:tc>
                  <a:txBody>
                    <a:bodyPr/>
                    <a:lstStyle/>
                    <a:p>
                      <a:pPr algn="l" fontAlgn="b"/>
                      <a:r>
                        <a:rPr lang="en-CA" sz="900" b="0" i="0" u="none" strike="noStrike">
                          <a:solidFill>
                            <a:srgbClr val="000000"/>
                          </a:solidFill>
                          <a:effectLst/>
                          <a:latin typeface="Arial" panose="020B0604020202020204" pitchFamily="34" charset="0"/>
                        </a:rPr>
                        <a:t>FDSO</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7.96</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659222292"/>
                  </a:ext>
                </a:extLst>
              </a:tr>
              <a:tr h="172826">
                <a:tc gridSpan="2">
                  <a:txBody>
                    <a:bodyPr/>
                    <a:lstStyle/>
                    <a:p>
                      <a:pPr algn="l" fontAlgn="b"/>
                      <a:r>
                        <a:rPr lang="en-CA" sz="900" b="1" i="0" u="none" strike="noStrike">
                          <a:solidFill>
                            <a:srgbClr val="000000"/>
                          </a:solidFill>
                          <a:effectLst/>
                          <a:latin typeface="Arial" panose="020B0604020202020204" pitchFamily="34" charset="0"/>
                        </a:rPr>
                        <a:t>Implied Share Pric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83.02</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362446925"/>
                  </a:ext>
                </a:extLst>
              </a:tr>
              <a:tr h="172826">
                <a:tc gridSpan="2">
                  <a:txBody>
                    <a:bodyPr/>
                    <a:lstStyle/>
                    <a:p>
                      <a:pPr algn="l" fontAlgn="b"/>
                      <a:r>
                        <a:rPr lang="en-CA" sz="900" b="0" i="0" u="none" strike="noStrike">
                          <a:solidFill>
                            <a:srgbClr val="000000"/>
                          </a:solidFill>
                          <a:effectLst/>
                          <a:latin typeface="Arial" panose="020B0604020202020204" pitchFamily="34" charset="0"/>
                        </a:rPr>
                        <a:t>Current Share Pric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22.84</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5025279"/>
                  </a:ext>
                </a:extLst>
              </a:tr>
              <a:tr h="172826">
                <a:tc gridSpan="2">
                  <a:txBody>
                    <a:bodyPr/>
                    <a:lstStyle/>
                    <a:p>
                      <a:pPr algn="l" fontAlgn="b"/>
                      <a:r>
                        <a:rPr lang="en-CA" sz="900" b="1" i="0" u="none" strike="noStrike">
                          <a:solidFill>
                            <a:srgbClr val="000000"/>
                          </a:solidFill>
                          <a:effectLst/>
                          <a:latin typeface="Arial" panose="020B0604020202020204" pitchFamily="34" charset="0"/>
                        </a:rPr>
                        <a:t>Premium/Discount</a:t>
                      </a:r>
                    </a:p>
                  </a:txBody>
                  <a:tcPr marL="6350" marR="6350" marT="635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48.99%</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B954"/>
                    </a:solidFill>
                  </a:tcPr>
                </a:tc>
                <a:extLst>
                  <a:ext uri="{0D108BD9-81ED-4DB2-BD59-A6C34878D82A}">
                    <a16:rowId xmlns:a16="http://schemas.microsoft.com/office/drawing/2014/main" val="1410454702"/>
                  </a:ext>
                </a:extLst>
              </a:tr>
            </a:tbl>
          </a:graphicData>
        </a:graphic>
      </p:graphicFrame>
      <p:graphicFrame>
        <p:nvGraphicFramePr>
          <p:cNvPr id="18" name="Table 17">
            <a:extLst>
              <a:ext uri="{FF2B5EF4-FFF2-40B4-BE49-F238E27FC236}">
                <a16:creationId xmlns:a16="http://schemas.microsoft.com/office/drawing/2014/main" id="{3B43950D-5840-79D2-8D31-233FF7BAAC97}"/>
              </a:ext>
            </a:extLst>
          </p:cNvPr>
          <p:cNvGraphicFramePr>
            <a:graphicFrameLocks noGrp="1"/>
          </p:cNvGraphicFramePr>
          <p:nvPr>
            <p:extLst>
              <p:ext uri="{D42A27DB-BD31-4B8C-83A1-F6EECF244321}">
                <p14:modId xmlns:p14="http://schemas.microsoft.com/office/powerpoint/2010/main" val="2587197073"/>
              </p:ext>
            </p:extLst>
          </p:nvPr>
        </p:nvGraphicFramePr>
        <p:xfrm>
          <a:off x="3448047" y="1475311"/>
          <a:ext cx="2247900" cy="1953686"/>
        </p:xfrm>
        <a:graphic>
          <a:graphicData uri="http://schemas.openxmlformats.org/drawingml/2006/table">
            <a:tbl>
              <a:tblPr/>
              <a:tblGrid>
                <a:gridCol w="749300">
                  <a:extLst>
                    <a:ext uri="{9D8B030D-6E8A-4147-A177-3AD203B41FA5}">
                      <a16:colId xmlns:a16="http://schemas.microsoft.com/office/drawing/2014/main" val="4204429787"/>
                    </a:ext>
                  </a:extLst>
                </a:gridCol>
                <a:gridCol w="749300">
                  <a:extLst>
                    <a:ext uri="{9D8B030D-6E8A-4147-A177-3AD203B41FA5}">
                      <a16:colId xmlns:a16="http://schemas.microsoft.com/office/drawing/2014/main" val="3727642274"/>
                    </a:ext>
                  </a:extLst>
                </a:gridCol>
                <a:gridCol w="749300">
                  <a:extLst>
                    <a:ext uri="{9D8B030D-6E8A-4147-A177-3AD203B41FA5}">
                      <a16:colId xmlns:a16="http://schemas.microsoft.com/office/drawing/2014/main" val="4123026588"/>
                    </a:ext>
                  </a:extLst>
                </a:gridCol>
              </a:tblGrid>
              <a:tr h="225426">
                <a:tc gridSpan="3">
                  <a:txBody>
                    <a:bodyPr/>
                    <a:lstStyle/>
                    <a:p>
                      <a:pPr algn="ctr" fontAlgn="b"/>
                      <a:r>
                        <a:rPr lang="en-CA" sz="900" b="1" i="0" u="none" strike="noStrike">
                          <a:solidFill>
                            <a:srgbClr val="FFFFFF"/>
                          </a:solidFill>
                          <a:effectLst/>
                          <a:latin typeface="Arial" panose="020B0604020202020204" pitchFamily="34" charset="0"/>
                        </a:rPr>
                        <a:t>EV/EBITDA Valuation</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118915893"/>
                  </a:ext>
                </a:extLst>
              </a:tr>
              <a:tr h="172826">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614942875"/>
                  </a:ext>
                </a:extLst>
              </a:tr>
              <a:tr h="172826">
                <a:tc gridSpan="2">
                  <a:txBody>
                    <a:bodyPr/>
                    <a:lstStyle/>
                    <a:p>
                      <a:pPr algn="l" fontAlgn="b"/>
                      <a:r>
                        <a:rPr lang="en-CA" sz="900" b="0" i="0" u="none" strike="noStrike">
                          <a:solidFill>
                            <a:srgbClr val="000000"/>
                          </a:solidFill>
                          <a:effectLst/>
                          <a:latin typeface="Arial" panose="020B0604020202020204" pitchFamily="34" charset="0"/>
                        </a:rPr>
                        <a:t>EV / 2025F EBITDA</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1" i="0" u="none" strike="noStrike">
                          <a:solidFill>
                            <a:srgbClr val="000000"/>
                          </a:solidFill>
                          <a:effectLst/>
                          <a:latin typeface="Arial" panose="020B0604020202020204" pitchFamily="34" charset="0"/>
                        </a:rPr>
                        <a:t>12.6x</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905210035"/>
                  </a:ext>
                </a:extLst>
              </a:tr>
              <a:tr h="172826">
                <a:tc gridSpan="2">
                  <a:txBody>
                    <a:bodyPr/>
                    <a:lstStyle/>
                    <a:p>
                      <a:pPr algn="l" fontAlgn="b"/>
                      <a:r>
                        <a:rPr lang="en-CA" sz="900" b="0" i="0" u="none" strike="noStrike">
                          <a:solidFill>
                            <a:srgbClr val="000000"/>
                          </a:solidFill>
                          <a:effectLst/>
                          <a:latin typeface="Arial" panose="020B0604020202020204" pitchFamily="34" charset="0"/>
                        </a:rPr>
                        <a:t>2025F EBITDA</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38.3</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468751542"/>
                  </a:ext>
                </a:extLst>
              </a:tr>
              <a:tr h="172826">
                <a:tc>
                  <a:txBody>
                    <a:bodyPr/>
                    <a:lstStyle/>
                    <a:p>
                      <a:pPr algn="l" fontAlgn="b"/>
                      <a:r>
                        <a:rPr lang="en-CA" sz="900" b="1" i="0" u="none" strike="noStrike">
                          <a:solidFill>
                            <a:srgbClr val="000000"/>
                          </a:solidFill>
                          <a:effectLst/>
                          <a:latin typeface="Arial" panose="020B0604020202020204" pitchFamily="34" charset="0"/>
                        </a:rPr>
                        <a:t>Implied EV</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739.2</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214198398"/>
                  </a:ext>
                </a:extLst>
              </a:tr>
              <a:tr h="172826">
                <a:tc>
                  <a:txBody>
                    <a:bodyPr/>
                    <a:lstStyle/>
                    <a:p>
                      <a:pPr algn="l" fontAlgn="b"/>
                      <a:r>
                        <a:rPr lang="en-CA" sz="900" b="0" i="0" u="none" strike="noStrike">
                          <a:solidFill>
                            <a:srgbClr val="000000"/>
                          </a:solidFill>
                          <a:effectLst/>
                          <a:latin typeface="Arial" panose="020B0604020202020204" pitchFamily="34" charset="0"/>
                        </a:rPr>
                        <a:t>(-) Net Debt</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73.1</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782943473"/>
                  </a:ext>
                </a:extLst>
              </a:tr>
              <a:tr h="172826">
                <a:tc gridSpan="2">
                  <a:txBody>
                    <a:bodyPr/>
                    <a:lstStyle/>
                    <a:p>
                      <a:pPr algn="l" fontAlgn="b"/>
                      <a:r>
                        <a:rPr lang="en-CA" sz="900" b="1" i="0" u="none" strike="noStrike">
                          <a:solidFill>
                            <a:srgbClr val="000000"/>
                          </a:solidFill>
                          <a:effectLst/>
                          <a:latin typeface="Arial" panose="020B0604020202020204" pitchFamily="34" charset="0"/>
                        </a:rPr>
                        <a:t>Implied Equity Valu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912.3</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326106449"/>
                  </a:ext>
                </a:extLst>
              </a:tr>
              <a:tr h="172826">
                <a:tc>
                  <a:txBody>
                    <a:bodyPr/>
                    <a:lstStyle/>
                    <a:p>
                      <a:pPr algn="l" fontAlgn="b"/>
                      <a:r>
                        <a:rPr lang="en-CA" sz="900" b="0" i="0" u="none" strike="noStrike">
                          <a:solidFill>
                            <a:srgbClr val="000000"/>
                          </a:solidFill>
                          <a:effectLst/>
                          <a:latin typeface="Arial" panose="020B0604020202020204" pitchFamily="34" charset="0"/>
                        </a:rPr>
                        <a:t>FDSO</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7.96</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897429085"/>
                  </a:ext>
                </a:extLst>
              </a:tr>
              <a:tr h="172826">
                <a:tc gridSpan="2">
                  <a:txBody>
                    <a:bodyPr/>
                    <a:lstStyle/>
                    <a:p>
                      <a:pPr algn="l" fontAlgn="b"/>
                      <a:r>
                        <a:rPr lang="en-CA" sz="900" b="1" i="0" u="none" strike="noStrike">
                          <a:solidFill>
                            <a:srgbClr val="000000"/>
                          </a:solidFill>
                          <a:effectLst/>
                          <a:latin typeface="Arial" panose="020B0604020202020204" pitchFamily="34" charset="0"/>
                        </a:rPr>
                        <a:t>Implied Share Pric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06.48</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364361464"/>
                  </a:ext>
                </a:extLst>
              </a:tr>
              <a:tr h="172826">
                <a:tc gridSpan="2">
                  <a:txBody>
                    <a:bodyPr/>
                    <a:lstStyle/>
                    <a:p>
                      <a:pPr algn="l" fontAlgn="b"/>
                      <a:r>
                        <a:rPr lang="en-CA" sz="900" b="0" i="0" u="none" strike="noStrike">
                          <a:solidFill>
                            <a:srgbClr val="000000"/>
                          </a:solidFill>
                          <a:effectLst/>
                          <a:latin typeface="Arial" panose="020B0604020202020204" pitchFamily="34" charset="0"/>
                        </a:rPr>
                        <a:t>Current Share Pric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22.84</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90105663"/>
                  </a:ext>
                </a:extLst>
              </a:tr>
              <a:tr h="172826">
                <a:tc gridSpan="2">
                  <a:txBody>
                    <a:bodyPr/>
                    <a:lstStyle/>
                    <a:p>
                      <a:pPr algn="l" fontAlgn="b"/>
                      <a:r>
                        <a:rPr lang="en-CA" sz="900" b="1" i="0" u="none" strike="noStrike">
                          <a:solidFill>
                            <a:srgbClr val="000000"/>
                          </a:solidFill>
                          <a:effectLst/>
                          <a:latin typeface="Arial" panose="020B0604020202020204" pitchFamily="34" charset="0"/>
                        </a:rPr>
                        <a:t>Premium/Discount</a:t>
                      </a:r>
                    </a:p>
                  </a:txBody>
                  <a:tcPr marL="6350" marR="6350" marT="635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3.32%</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1935"/>
                    </a:solidFill>
                  </a:tcPr>
                </a:tc>
                <a:extLst>
                  <a:ext uri="{0D108BD9-81ED-4DB2-BD59-A6C34878D82A}">
                    <a16:rowId xmlns:a16="http://schemas.microsoft.com/office/drawing/2014/main" val="3025535710"/>
                  </a:ext>
                </a:extLst>
              </a:tr>
            </a:tbl>
          </a:graphicData>
        </a:graphic>
      </p:graphicFrame>
      <p:graphicFrame>
        <p:nvGraphicFramePr>
          <p:cNvPr id="20" name="Table 19">
            <a:extLst>
              <a:ext uri="{FF2B5EF4-FFF2-40B4-BE49-F238E27FC236}">
                <a16:creationId xmlns:a16="http://schemas.microsoft.com/office/drawing/2014/main" id="{3A9ABFE3-2063-D41B-784D-B3179F72C0D8}"/>
              </a:ext>
            </a:extLst>
          </p:cNvPr>
          <p:cNvGraphicFramePr>
            <a:graphicFrameLocks noGrp="1"/>
          </p:cNvGraphicFramePr>
          <p:nvPr>
            <p:extLst>
              <p:ext uri="{D42A27DB-BD31-4B8C-83A1-F6EECF244321}">
                <p14:modId xmlns:p14="http://schemas.microsoft.com/office/powerpoint/2010/main" val="2027989443"/>
              </p:ext>
            </p:extLst>
          </p:nvPr>
        </p:nvGraphicFramePr>
        <p:xfrm>
          <a:off x="6462183" y="1475311"/>
          <a:ext cx="2247900" cy="1953685"/>
        </p:xfrm>
        <a:graphic>
          <a:graphicData uri="http://schemas.openxmlformats.org/drawingml/2006/table">
            <a:tbl>
              <a:tblPr/>
              <a:tblGrid>
                <a:gridCol w="749300">
                  <a:extLst>
                    <a:ext uri="{9D8B030D-6E8A-4147-A177-3AD203B41FA5}">
                      <a16:colId xmlns:a16="http://schemas.microsoft.com/office/drawing/2014/main" val="911116323"/>
                    </a:ext>
                  </a:extLst>
                </a:gridCol>
                <a:gridCol w="749300">
                  <a:extLst>
                    <a:ext uri="{9D8B030D-6E8A-4147-A177-3AD203B41FA5}">
                      <a16:colId xmlns:a16="http://schemas.microsoft.com/office/drawing/2014/main" val="270831413"/>
                    </a:ext>
                  </a:extLst>
                </a:gridCol>
                <a:gridCol w="749300">
                  <a:extLst>
                    <a:ext uri="{9D8B030D-6E8A-4147-A177-3AD203B41FA5}">
                      <a16:colId xmlns:a16="http://schemas.microsoft.com/office/drawing/2014/main" val="1518390344"/>
                    </a:ext>
                  </a:extLst>
                </a:gridCol>
              </a:tblGrid>
              <a:tr h="225425">
                <a:tc gridSpan="3">
                  <a:txBody>
                    <a:bodyPr/>
                    <a:lstStyle/>
                    <a:p>
                      <a:pPr algn="ctr" fontAlgn="b"/>
                      <a:r>
                        <a:rPr lang="en-CA" sz="900" b="1" i="0" u="none" strike="noStrike">
                          <a:solidFill>
                            <a:srgbClr val="FFFFFF"/>
                          </a:solidFill>
                          <a:effectLst/>
                          <a:latin typeface="Arial" panose="020B0604020202020204" pitchFamily="34" charset="0"/>
                        </a:rPr>
                        <a:t>P/E Valuation</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350222899"/>
                  </a:ext>
                </a:extLst>
              </a:tr>
              <a:tr h="172826">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627985551"/>
                  </a:ext>
                </a:extLst>
              </a:tr>
              <a:tr h="172826">
                <a:tc gridSpan="2">
                  <a:txBody>
                    <a:bodyPr/>
                    <a:lstStyle/>
                    <a:p>
                      <a:pPr algn="l" fontAlgn="b"/>
                      <a:r>
                        <a:rPr lang="en-CA" sz="900" b="0" i="0" u="none" strike="noStrike">
                          <a:solidFill>
                            <a:srgbClr val="000000"/>
                          </a:solidFill>
                          <a:effectLst/>
                          <a:latin typeface="Arial" panose="020B0604020202020204" pitchFamily="34" charset="0"/>
                        </a:rPr>
                        <a:t>EV / 2025F Net Incom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1" i="0" u="none" strike="noStrike">
                          <a:solidFill>
                            <a:srgbClr val="000000"/>
                          </a:solidFill>
                          <a:effectLst/>
                          <a:latin typeface="Arial" panose="020B0604020202020204" pitchFamily="34" charset="0"/>
                        </a:rPr>
                        <a:t>23.5x</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832055942"/>
                  </a:ext>
                </a:extLst>
              </a:tr>
              <a:tr h="172826">
                <a:tc gridSpan="2">
                  <a:txBody>
                    <a:bodyPr/>
                    <a:lstStyle/>
                    <a:p>
                      <a:pPr algn="l" fontAlgn="b"/>
                      <a:r>
                        <a:rPr lang="en-CA" sz="900" b="0" i="0" u="none" strike="noStrike">
                          <a:solidFill>
                            <a:srgbClr val="000000"/>
                          </a:solidFill>
                          <a:effectLst/>
                          <a:latin typeface="Arial" panose="020B0604020202020204" pitchFamily="34" charset="0"/>
                        </a:rPr>
                        <a:t>2025F Net Incom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86.1</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4190812633"/>
                  </a:ext>
                </a:extLst>
              </a:tr>
              <a:tr h="172826">
                <a:tc>
                  <a:txBody>
                    <a:bodyPr/>
                    <a:lstStyle/>
                    <a:p>
                      <a:pPr algn="l" fontAlgn="b"/>
                      <a:r>
                        <a:rPr lang="en-CA" sz="900" b="1" i="0" u="none" strike="noStrike">
                          <a:solidFill>
                            <a:srgbClr val="000000"/>
                          </a:solidFill>
                          <a:effectLst/>
                          <a:latin typeface="Arial" panose="020B0604020202020204" pitchFamily="34" charset="0"/>
                        </a:rPr>
                        <a:t>Implied EV</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2019.5</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229247044"/>
                  </a:ext>
                </a:extLst>
              </a:tr>
              <a:tr h="172826">
                <a:tc>
                  <a:txBody>
                    <a:bodyPr/>
                    <a:lstStyle/>
                    <a:p>
                      <a:pPr algn="l" fontAlgn="b"/>
                      <a:r>
                        <a:rPr lang="en-CA" sz="900" b="0" i="0" u="none" strike="noStrike">
                          <a:solidFill>
                            <a:srgbClr val="000000"/>
                          </a:solidFill>
                          <a:effectLst/>
                          <a:latin typeface="Arial" panose="020B0604020202020204" pitchFamily="34" charset="0"/>
                        </a:rPr>
                        <a:t>(-) Net Debt</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73.1</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4276422453"/>
                  </a:ext>
                </a:extLst>
              </a:tr>
              <a:tr h="172826">
                <a:tc gridSpan="2">
                  <a:txBody>
                    <a:bodyPr/>
                    <a:lstStyle/>
                    <a:p>
                      <a:pPr algn="l" fontAlgn="b"/>
                      <a:r>
                        <a:rPr lang="en-CA" sz="900" b="1" i="0" u="none" strike="noStrike">
                          <a:solidFill>
                            <a:srgbClr val="000000"/>
                          </a:solidFill>
                          <a:effectLst/>
                          <a:latin typeface="Arial" panose="020B0604020202020204" pitchFamily="34" charset="0"/>
                        </a:rPr>
                        <a:t>Implied Equity Valu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2192.6</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36919017"/>
                  </a:ext>
                </a:extLst>
              </a:tr>
              <a:tr h="172826">
                <a:tc>
                  <a:txBody>
                    <a:bodyPr/>
                    <a:lstStyle/>
                    <a:p>
                      <a:pPr algn="l" fontAlgn="b"/>
                      <a:r>
                        <a:rPr lang="en-CA" sz="900" b="0" i="0" u="none" strike="noStrike">
                          <a:solidFill>
                            <a:srgbClr val="000000"/>
                          </a:solidFill>
                          <a:effectLst/>
                          <a:latin typeface="Arial" panose="020B0604020202020204" pitchFamily="34" charset="0"/>
                        </a:rPr>
                        <a:t>FDSO</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7.96</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592943757"/>
                  </a:ext>
                </a:extLst>
              </a:tr>
              <a:tr h="172826">
                <a:tc gridSpan="2">
                  <a:txBody>
                    <a:bodyPr/>
                    <a:lstStyle/>
                    <a:p>
                      <a:pPr algn="l" fontAlgn="b"/>
                      <a:r>
                        <a:rPr lang="en-CA" sz="900" b="1" i="0" u="none" strike="noStrike">
                          <a:solidFill>
                            <a:srgbClr val="000000"/>
                          </a:solidFill>
                          <a:effectLst/>
                          <a:latin typeface="Arial" panose="020B0604020202020204" pitchFamily="34" charset="0"/>
                        </a:rPr>
                        <a:t>Implied Share Pric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22.08</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597779998"/>
                  </a:ext>
                </a:extLst>
              </a:tr>
              <a:tr h="172826">
                <a:tc gridSpan="2">
                  <a:txBody>
                    <a:bodyPr/>
                    <a:lstStyle/>
                    <a:p>
                      <a:pPr algn="l" fontAlgn="b"/>
                      <a:r>
                        <a:rPr lang="en-CA" sz="900" b="0" i="0" u="none" strike="noStrike">
                          <a:solidFill>
                            <a:srgbClr val="000000"/>
                          </a:solidFill>
                          <a:effectLst/>
                          <a:latin typeface="Arial" panose="020B0604020202020204" pitchFamily="34" charset="0"/>
                        </a:rPr>
                        <a:t>Current Share Pric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22.84</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7363244"/>
                  </a:ext>
                </a:extLst>
              </a:tr>
              <a:tr h="172826">
                <a:tc gridSpan="2">
                  <a:txBody>
                    <a:bodyPr/>
                    <a:lstStyle/>
                    <a:p>
                      <a:pPr algn="l" fontAlgn="b"/>
                      <a:r>
                        <a:rPr lang="en-CA" sz="900" b="1" i="0" u="none" strike="noStrike">
                          <a:solidFill>
                            <a:srgbClr val="000000"/>
                          </a:solidFill>
                          <a:effectLst/>
                          <a:latin typeface="Arial" panose="020B0604020202020204" pitchFamily="34" charset="0"/>
                        </a:rPr>
                        <a:t>Premium/Discount</a:t>
                      </a:r>
                    </a:p>
                  </a:txBody>
                  <a:tcPr marL="6350" marR="6350" marT="635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0.62%</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1935"/>
                    </a:solidFill>
                  </a:tcPr>
                </a:tc>
                <a:extLst>
                  <a:ext uri="{0D108BD9-81ED-4DB2-BD59-A6C34878D82A}">
                    <a16:rowId xmlns:a16="http://schemas.microsoft.com/office/drawing/2014/main" val="4251783841"/>
                  </a:ext>
                </a:extLst>
              </a:tr>
            </a:tbl>
          </a:graphicData>
        </a:graphic>
      </p:graphicFrame>
    </p:spTree>
    <p:extLst>
      <p:ext uri="{BB962C8B-B14F-4D97-AF65-F5344CB8AC3E}">
        <p14:creationId xmlns:p14="http://schemas.microsoft.com/office/powerpoint/2010/main" val="24007673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2E9DA9-60A3-4A99-347B-6A8A27272833}"/>
              </a:ext>
            </a:extLst>
          </p:cNvPr>
          <p:cNvSpPr>
            <a:spLocks noGrp="1"/>
          </p:cNvSpPr>
          <p:nvPr>
            <p:ph type="body" sz="quarter" idx="13"/>
          </p:nvPr>
        </p:nvSpPr>
        <p:spPr/>
        <p:txBody>
          <a:bodyPr/>
          <a:lstStyle/>
          <a:p>
            <a:r>
              <a:rPr lang="en-US" sz="700"/>
              <a:t>Note: All market data as of November 29</a:t>
            </a:r>
            <a:r>
              <a:rPr lang="en-US" sz="700" baseline="30000"/>
              <a:t>th</a:t>
            </a:r>
            <a:r>
              <a:rPr lang="en-US" sz="700"/>
              <a:t>, 2024</a:t>
            </a:r>
          </a:p>
        </p:txBody>
      </p:sp>
      <p:sp>
        <p:nvSpPr>
          <p:cNvPr id="7" name="Text Placeholder 6">
            <a:extLst>
              <a:ext uri="{FF2B5EF4-FFF2-40B4-BE49-F238E27FC236}">
                <a16:creationId xmlns:a16="http://schemas.microsoft.com/office/drawing/2014/main" id="{C864F461-9D5D-A41C-B608-D3724AA8B3DC}"/>
              </a:ext>
            </a:extLst>
          </p:cNvPr>
          <p:cNvSpPr>
            <a:spLocks noGrp="1"/>
          </p:cNvSpPr>
          <p:nvPr>
            <p:ph type="body" sz="quarter" idx="21"/>
          </p:nvPr>
        </p:nvSpPr>
        <p:spPr/>
        <p:txBody>
          <a:bodyPr/>
          <a:lstStyle/>
          <a:p>
            <a:r>
              <a:rPr lang="en-US"/>
              <a:t>Rating: BUY</a:t>
            </a:r>
            <a:endParaRPr lang="en-CA"/>
          </a:p>
        </p:txBody>
      </p:sp>
      <p:sp>
        <p:nvSpPr>
          <p:cNvPr id="8" name="Title 7">
            <a:extLst>
              <a:ext uri="{FF2B5EF4-FFF2-40B4-BE49-F238E27FC236}">
                <a16:creationId xmlns:a16="http://schemas.microsoft.com/office/drawing/2014/main" id="{3B10BF27-BAA5-AF3E-BB33-34C1B5C89F77}"/>
              </a:ext>
            </a:extLst>
          </p:cNvPr>
          <p:cNvSpPr>
            <a:spLocks noGrp="1"/>
          </p:cNvSpPr>
          <p:nvPr>
            <p:ph type="title"/>
          </p:nvPr>
        </p:nvSpPr>
        <p:spPr/>
        <p:txBody>
          <a:bodyPr/>
          <a:lstStyle/>
          <a:p>
            <a:r>
              <a:rPr lang="en-CA"/>
              <a:t>Executive Summary</a:t>
            </a:r>
          </a:p>
        </p:txBody>
      </p:sp>
      <p:graphicFrame>
        <p:nvGraphicFramePr>
          <p:cNvPr id="9" name="Table 8">
            <a:extLst>
              <a:ext uri="{FF2B5EF4-FFF2-40B4-BE49-F238E27FC236}">
                <a16:creationId xmlns:a16="http://schemas.microsoft.com/office/drawing/2014/main" id="{2DEFA061-198A-9964-1C0D-75681BB4E3FE}"/>
              </a:ext>
            </a:extLst>
          </p:cNvPr>
          <p:cNvGraphicFramePr>
            <a:graphicFrameLocks/>
          </p:cNvGraphicFramePr>
          <p:nvPr>
            <p:extLst>
              <p:ext uri="{D42A27DB-BD31-4B8C-83A1-F6EECF244321}">
                <p14:modId xmlns:p14="http://schemas.microsoft.com/office/powerpoint/2010/main" val="662566842"/>
              </p:ext>
            </p:extLst>
          </p:nvPr>
        </p:nvGraphicFramePr>
        <p:xfrm>
          <a:off x="250830" y="1030605"/>
          <a:ext cx="5117147" cy="274320"/>
        </p:xfrm>
        <a:graphic>
          <a:graphicData uri="http://schemas.openxmlformats.org/drawingml/2006/table">
            <a:tbl>
              <a:tblPr firstRow="1" bandRow="1">
                <a:tableStyleId>{5C22544A-7EE6-4342-B048-85BDC9FD1C3A}</a:tableStyleId>
              </a:tblPr>
              <a:tblGrid>
                <a:gridCol w="5117147">
                  <a:extLst>
                    <a:ext uri="{9D8B030D-6E8A-4147-A177-3AD203B41FA5}">
                      <a16:colId xmlns:a16="http://schemas.microsoft.com/office/drawing/2014/main" val="3437084154"/>
                    </a:ext>
                  </a:extLst>
                </a:gridCol>
              </a:tblGrid>
              <a:tr h="274320">
                <a:tc>
                  <a:txBody>
                    <a:bodyPr/>
                    <a:lstStyle/>
                    <a:p>
                      <a:pPr lvl="0">
                        <a:buNone/>
                      </a:pPr>
                      <a:r>
                        <a:rPr lang="en-US" sz="1200" b="1" kern="1200">
                          <a:solidFill>
                            <a:schemeClr val="tx2"/>
                          </a:solidFill>
                          <a:latin typeface="+mn-lt"/>
                          <a:ea typeface="+mn-ea"/>
                          <a:cs typeface="+mn-cs"/>
                        </a:rPr>
                        <a:t>Addus Homecare Performance vs. S&amp;P 500 Health Care Index</a:t>
                      </a:r>
                      <a:endParaRPr lang="en-US" sz="1200"/>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graphicFrame>
        <p:nvGraphicFramePr>
          <p:cNvPr id="10" name="Table 9">
            <a:extLst>
              <a:ext uri="{FF2B5EF4-FFF2-40B4-BE49-F238E27FC236}">
                <a16:creationId xmlns:a16="http://schemas.microsoft.com/office/drawing/2014/main" id="{8C62E157-A351-D9E5-C69E-60A8AAC17D29}"/>
              </a:ext>
            </a:extLst>
          </p:cNvPr>
          <p:cNvGraphicFramePr>
            <a:graphicFrameLocks/>
          </p:cNvGraphicFramePr>
          <p:nvPr>
            <p:extLst>
              <p:ext uri="{D42A27DB-BD31-4B8C-83A1-F6EECF244321}">
                <p14:modId xmlns:p14="http://schemas.microsoft.com/office/powerpoint/2010/main" val="3997330160"/>
              </p:ext>
            </p:extLst>
          </p:nvPr>
        </p:nvGraphicFramePr>
        <p:xfrm>
          <a:off x="5726750" y="1030605"/>
          <a:ext cx="3166427" cy="274320"/>
        </p:xfrm>
        <a:graphic>
          <a:graphicData uri="http://schemas.openxmlformats.org/drawingml/2006/table">
            <a:tbl>
              <a:tblPr firstRow="1" bandRow="1">
                <a:tableStyleId>{5C22544A-7EE6-4342-B048-85BDC9FD1C3A}</a:tableStyleId>
              </a:tblPr>
              <a:tblGrid>
                <a:gridCol w="3166427">
                  <a:extLst>
                    <a:ext uri="{9D8B030D-6E8A-4147-A177-3AD203B41FA5}">
                      <a16:colId xmlns:a16="http://schemas.microsoft.com/office/drawing/2014/main" val="3437084154"/>
                    </a:ext>
                  </a:extLst>
                </a:gridCol>
              </a:tblGrid>
              <a:tr h="274320">
                <a:tc>
                  <a:txBody>
                    <a:bodyPr/>
                    <a:lstStyle/>
                    <a:p>
                      <a:r>
                        <a:rPr lang="en-US" sz="1200" b="1">
                          <a:solidFill>
                            <a:schemeClr val="tx2"/>
                          </a:solidFill>
                          <a:latin typeface="+mj-lt"/>
                        </a:rPr>
                        <a:t>Summary Statistics</a:t>
                      </a:r>
                      <a:endParaRPr lang="en-CA" sz="130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graphicFrame>
        <p:nvGraphicFramePr>
          <p:cNvPr id="12" name="Table 11">
            <a:extLst>
              <a:ext uri="{FF2B5EF4-FFF2-40B4-BE49-F238E27FC236}">
                <a16:creationId xmlns:a16="http://schemas.microsoft.com/office/drawing/2014/main" id="{4493664D-1ED4-74D3-1EFD-B45F1B408405}"/>
              </a:ext>
            </a:extLst>
          </p:cNvPr>
          <p:cNvGraphicFramePr>
            <a:graphicFrameLocks/>
          </p:cNvGraphicFramePr>
          <p:nvPr>
            <p:extLst>
              <p:ext uri="{D42A27DB-BD31-4B8C-83A1-F6EECF244321}">
                <p14:modId xmlns:p14="http://schemas.microsoft.com/office/powerpoint/2010/main" val="203357081"/>
              </p:ext>
            </p:extLst>
          </p:nvPr>
        </p:nvGraphicFramePr>
        <p:xfrm>
          <a:off x="250825" y="3708485"/>
          <a:ext cx="5117147" cy="274320"/>
        </p:xfrm>
        <a:graphic>
          <a:graphicData uri="http://schemas.openxmlformats.org/drawingml/2006/table">
            <a:tbl>
              <a:tblPr firstRow="1" bandRow="1">
                <a:tableStyleId>{5C22544A-7EE6-4342-B048-85BDC9FD1C3A}</a:tableStyleId>
              </a:tblPr>
              <a:tblGrid>
                <a:gridCol w="5117147">
                  <a:extLst>
                    <a:ext uri="{9D8B030D-6E8A-4147-A177-3AD203B41FA5}">
                      <a16:colId xmlns:a16="http://schemas.microsoft.com/office/drawing/2014/main" val="3437084154"/>
                    </a:ext>
                  </a:extLst>
                </a:gridCol>
              </a:tblGrid>
              <a:tr h="274320">
                <a:tc>
                  <a:txBody>
                    <a:bodyPr/>
                    <a:lstStyle/>
                    <a:p>
                      <a:r>
                        <a:rPr lang="en-US" sz="1200" b="1">
                          <a:solidFill>
                            <a:schemeClr val="tx2"/>
                          </a:solidFill>
                          <a:latin typeface="+mj-lt"/>
                        </a:rPr>
                        <a:t>Executive Summary</a:t>
                      </a:r>
                      <a:endParaRPr lang="en-CA" sz="1300" b="1">
                        <a:solidFill>
                          <a:schemeClr val="tx2"/>
                        </a:solidFill>
                        <a:latin typeface="+mj-lt"/>
                      </a:endParaRPr>
                    </a:p>
                  </a:txBody>
                  <a:tcPr>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95644604"/>
                  </a:ext>
                </a:extLst>
              </a:tr>
            </a:tbl>
          </a:graphicData>
        </a:graphic>
      </p:graphicFrame>
      <p:sp>
        <p:nvSpPr>
          <p:cNvPr id="15" name="Content Placeholder 14">
            <a:extLst>
              <a:ext uri="{FF2B5EF4-FFF2-40B4-BE49-F238E27FC236}">
                <a16:creationId xmlns:a16="http://schemas.microsoft.com/office/drawing/2014/main" id="{C48A4E1E-E808-D5A5-9D33-88CA8F60389A}"/>
              </a:ext>
            </a:extLst>
          </p:cNvPr>
          <p:cNvSpPr>
            <a:spLocks noGrp="1"/>
          </p:cNvSpPr>
          <p:nvPr>
            <p:ph sz="quarter" idx="15"/>
          </p:nvPr>
        </p:nvSpPr>
        <p:spPr>
          <a:xfrm>
            <a:off x="250825" y="4030980"/>
            <a:ext cx="5117146" cy="2144429"/>
          </a:xfrm>
        </p:spPr>
        <p:txBody>
          <a:bodyPr>
            <a:normAutofit/>
          </a:bodyPr>
          <a:lstStyle/>
          <a:p>
            <a:r>
              <a:rPr lang="en-US" b="1">
                <a:solidFill>
                  <a:schemeClr val="accent1"/>
                </a:solidFill>
              </a:rPr>
              <a:t>Investment Theses</a:t>
            </a:r>
          </a:p>
          <a:p>
            <a:pPr lvl="1"/>
            <a:r>
              <a:rPr lang="en-US" err="1"/>
              <a:t>Addus</a:t>
            </a:r>
            <a:r>
              <a:rPr lang="en-US"/>
              <a:t> will benefit from an aging population and expanded hospice services to meet rising home healthcare demand.</a:t>
            </a:r>
          </a:p>
          <a:p>
            <a:pPr lvl="1"/>
            <a:r>
              <a:rPr lang="en-US" err="1"/>
              <a:t>Addus</a:t>
            </a:r>
            <a:r>
              <a:rPr lang="en-US"/>
              <a:t> will continue to drive growth through strategic acquisitions and market consolidation in personal and adjacent care.</a:t>
            </a:r>
          </a:p>
          <a:p>
            <a:r>
              <a:rPr lang="en-US" b="1">
                <a:solidFill>
                  <a:schemeClr val="accent1"/>
                </a:solidFill>
              </a:rPr>
              <a:t>Valuation</a:t>
            </a:r>
          </a:p>
          <a:p>
            <a:pPr lvl="1"/>
            <a:r>
              <a:rPr lang="en-US"/>
              <a:t>We are </a:t>
            </a:r>
            <a:r>
              <a:rPr lang="en-US" err="1"/>
              <a:t>initating</a:t>
            </a:r>
            <a:r>
              <a:rPr lang="en-US"/>
              <a:t> coverage on </a:t>
            </a:r>
            <a:r>
              <a:rPr lang="en-US" err="1"/>
              <a:t>Addus</a:t>
            </a:r>
            <a:r>
              <a:rPr lang="en-US"/>
              <a:t> Homecare with a $157.69 target price, implying a 28.37% return. We derive our valuation with a DCF (8.18% discount rate, 2.5% TGR) and RV (2.4x EV/Revenue, 12.6x EV/EBITDA, 23.5x P/E)</a:t>
            </a:r>
          </a:p>
        </p:txBody>
      </p:sp>
      <p:graphicFrame>
        <p:nvGraphicFramePr>
          <p:cNvPr id="16" name="Table 15">
            <a:extLst>
              <a:ext uri="{FF2B5EF4-FFF2-40B4-BE49-F238E27FC236}">
                <a16:creationId xmlns:a16="http://schemas.microsoft.com/office/drawing/2014/main" id="{A82EBC3B-F382-CF82-4DA1-58249EE21F89}"/>
              </a:ext>
            </a:extLst>
          </p:cNvPr>
          <p:cNvGraphicFramePr>
            <a:graphicFrameLocks noGrp="1"/>
          </p:cNvGraphicFramePr>
          <p:nvPr>
            <p:extLst>
              <p:ext uri="{D42A27DB-BD31-4B8C-83A1-F6EECF244321}">
                <p14:modId xmlns:p14="http://schemas.microsoft.com/office/powerpoint/2010/main" val="2440509764"/>
              </p:ext>
            </p:extLst>
          </p:nvPr>
        </p:nvGraphicFramePr>
        <p:xfrm>
          <a:off x="5726750" y="1423003"/>
          <a:ext cx="3166425" cy="4737178"/>
        </p:xfrm>
        <a:graphic>
          <a:graphicData uri="http://schemas.openxmlformats.org/drawingml/2006/table">
            <a:tbl>
              <a:tblPr/>
              <a:tblGrid>
                <a:gridCol w="997641">
                  <a:extLst>
                    <a:ext uri="{9D8B030D-6E8A-4147-A177-3AD203B41FA5}">
                      <a16:colId xmlns:a16="http://schemas.microsoft.com/office/drawing/2014/main" val="3654198995"/>
                    </a:ext>
                  </a:extLst>
                </a:gridCol>
                <a:gridCol w="537858">
                  <a:extLst>
                    <a:ext uri="{9D8B030D-6E8A-4147-A177-3AD203B41FA5}">
                      <a16:colId xmlns:a16="http://schemas.microsoft.com/office/drawing/2014/main" val="3051298704"/>
                    </a:ext>
                  </a:extLst>
                </a:gridCol>
                <a:gridCol w="543642">
                  <a:extLst>
                    <a:ext uri="{9D8B030D-6E8A-4147-A177-3AD203B41FA5}">
                      <a16:colId xmlns:a16="http://schemas.microsoft.com/office/drawing/2014/main" val="1203625757"/>
                    </a:ext>
                  </a:extLst>
                </a:gridCol>
                <a:gridCol w="543642">
                  <a:extLst>
                    <a:ext uri="{9D8B030D-6E8A-4147-A177-3AD203B41FA5}">
                      <a16:colId xmlns:a16="http://schemas.microsoft.com/office/drawing/2014/main" val="202769019"/>
                    </a:ext>
                  </a:extLst>
                </a:gridCol>
                <a:gridCol w="543642">
                  <a:extLst>
                    <a:ext uri="{9D8B030D-6E8A-4147-A177-3AD203B41FA5}">
                      <a16:colId xmlns:a16="http://schemas.microsoft.com/office/drawing/2014/main" val="1142381769"/>
                    </a:ext>
                  </a:extLst>
                </a:gridCol>
              </a:tblGrid>
              <a:tr h="198186">
                <a:tc gridSpan="2">
                  <a:txBody>
                    <a:bodyPr/>
                    <a:lstStyle/>
                    <a:p>
                      <a:pPr algn="l" fontAlgn="b"/>
                      <a:r>
                        <a:rPr lang="en-US" sz="900" b="1" i="0" u="none" strike="noStrike">
                          <a:solidFill>
                            <a:srgbClr val="FFFFFF"/>
                          </a:solidFill>
                          <a:effectLst/>
                          <a:latin typeface="+mj-lt"/>
                        </a:rPr>
                        <a:t>Company Overview</a:t>
                      </a:r>
                    </a:p>
                  </a:txBody>
                  <a:tcPr marL="9130" marR="9130" marT="9130" marB="0" anchor="b">
                    <a:lnL>
                      <a:noFill/>
                    </a:lnL>
                    <a:lnR>
                      <a:noFill/>
                    </a:lnR>
                    <a:lnT>
                      <a:noFill/>
                    </a:lnT>
                    <a:lnB>
                      <a:noFill/>
                    </a:lnB>
                    <a:solidFill>
                      <a:srgbClr val="0F3557"/>
                    </a:solidFill>
                  </a:tcPr>
                </a:tc>
                <a:tc hMerge="1">
                  <a:txBody>
                    <a:bodyPr/>
                    <a:lstStyle/>
                    <a:p>
                      <a:endParaRPr lang="en-US"/>
                    </a:p>
                  </a:txBody>
                  <a:tcPr/>
                </a:tc>
                <a:tc>
                  <a:txBody>
                    <a:bodyPr/>
                    <a:lstStyle/>
                    <a:p>
                      <a:pPr algn="l" fontAlgn="b"/>
                      <a:r>
                        <a:rPr lang="en-US" sz="900" b="1" i="0" u="none" strike="noStrike">
                          <a:solidFill>
                            <a:srgbClr val="FFFFFF"/>
                          </a:solidFill>
                          <a:effectLst/>
                          <a:latin typeface="+mj-lt"/>
                        </a:rPr>
                        <a:t> </a:t>
                      </a:r>
                    </a:p>
                  </a:txBody>
                  <a:tcPr marL="9130" marR="9130" marT="9130" marB="0" anchor="b">
                    <a:lnL>
                      <a:noFill/>
                    </a:lnL>
                    <a:lnR>
                      <a:noFill/>
                    </a:lnR>
                    <a:lnT>
                      <a:noFill/>
                    </a:lnT>
                    <a:lnB>
                      <a:noFill/>
                    </a:lnB>
                    <a:solidFill>
                      <a:srgbClr val="0F3557"/>
                    </a:solidFill>
                  </a:tcPr>
                </a:tc>
                <a:tc>
                  <a:txBody>
                    <a:bodyPr/>
                    <a:lstStyle/>
                    <a:p>
                      <a:pPr algn="l" fontAlgn="b"/>
                      <a:r>
                        <a:rPr lang="en-US" sz="900" b="1" i="0" u="none" strike="noStrike">
                          <a:solidFill>
                            <a:srgbClr val="FFFFFF"/>
                          </a:solidFill>
                          <a:effectLst/>
                          <a:latin typeface="+mj-lt"/>
                        </a:rPr>
                        <a:t> </a:t>
                      </a:r>
                    </a:p>
                  </a:txBody>
                  <a:tcPr marL="9130" marR="9130" marT="9130" marB="0" anchor="b">
                    <a:lnL>
                      <a:noFill/>
                    </a:lnL>
                    <a:lnR>
                      <a:noFill/>
                    </a:lnR>
                    <a:lnT>
                      <a:noFill/>
                    </a:lnT>
                    <a:lnB>
                      <a:noFill/>
                    </a:lnB>
                    <a:solidFill>
                      <a:srgbClr val="0F3557"/>
                    </a:solidFill>
                  </a:tcPr>
                </a:tc>
                <a:tc>
                  <a:txBody>
                    <a:bodyPr/>
                    <a:lstStyle/>
                    <a:p>
                      <a:pPr algn="l" fontAlgn="b"/>
                      <a:r>
                        <a:rPr lang="en-US" sz="900" b="1" i="0" u="none" strike="noStrike">
                          <a:solidFill>
                            <a:srgbClr val="FFFFFF"/>
                          </a:solidFill>
                          <a:effectLst/>
                          <a:latin typeface="+mj-lt"/>
                        </a:rPr>
                        <a:t> </a:t>
                      </a:r>
                    </a:p>
                  </a:txBody>
                  <a:tcPr marL="9130" marR="9130" marT="9130" marB="0" anchor="b">
                    <a:lnL>
                      <a:noFill/>
                    </a:lnL>
                    <a:lnR>
                      <a:noFill/>
                    </a:lnR>
                    <a:lnT>
                      <a:noFill/>
                    </a:lnT>
                    <a:lnB>
                      <a:noFill/>
                    </a:lnB>
                    <a:solidFill>
                      <a:srgbClr val="0F3557"/>
                    </a:solidFill>
                  </a:tcPr>
                </a:tc>
                <a:extLst>
                  <a:ext uri="{0D108BD9-81ED-4DB2-BD59-A6C34878D82A}">
                    <a16:rowId xmlns:a16="http://schemas.microsoft.com/office/drawing/2014/main" val="3079477891"/>
                  </a:ext>
                </a:extLst>
              </a:tr>
              <a:tr h="198186">
                <a:tc>
                  <a:txBody>
                    <a:bodyPr/>
                    <a:lstStyle/>
                    <a:p>
                      <a:pPr algn="l" fontAlgn="b"/>
                      <a:r>
                        <a:rPr lang="en-US" sz="900" b="0" i="0" u="none" strike="noStrike">
                          <a:solidFill>
                            <a:srgbClr val="000000"/>
                          </a:solidFill>
                          <a:effectLst/>
                          <a:latin typeface="+mj-lt"/>
                        </a:rPr>
                        <a:t>Current Price</a:t>
                      </a: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22.84</a:t>
                      </a:r>
                    </a:p>
                  </a:txBody>
                  <a:tcPr marL="9130" marR="9130" marT="9130" marB="0" anchor="b">
                    <a:lnL>
                      <a:noFill/>
                    </a:lnL>
                    <a:lnR>
                      <a:noFill/>
                    </a:lnR>
                    <a:lnT>
                      <a:noFill/>
                    </a:lnT>
                    <a:lnB>
                      <a:noFill/>
                    </a:lnB>
                    <a:noFill/>
                  </a:tcPr>
                </a:tc>
                <a:extLst>
                  <a:ext uri="{0D108BD9-81ED-4DB2-BD59-A6C34878D82A}">
                    <a16:rowId xmlns:a16="http://schemas.microsoft.com/office/drawing/2014/main" val="495095866"/>
                  </a:ext>
                </a:extLst>
              </a:tr>
              <a:tr h="198186">
                <a:tc>
                  <a:txBody>
                    <a:bodyPr/>
                    <a:lstStyle/>
                    <a:p>
                      <a:pPr algn="l" fontAlgn="b"/>
                      <a:r>
                        <a:rPr lang="en-US" sz="900" b="0" i="0" u="none" strike="noStrike">
                          <a:solidFill>
                            <a:srgbClr val="000000"/>
                          </a:solidFill>
                          <a:effectLst/>
                          <a:latin typeface="+mj-lt"/>
                        </a:rPr>
                        <a:t>Rating</a:t>
                      </a: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BUY</a:t>
                      </a:r>
                    </a:p>
                  </a:txBody>
                  <a:tcPr marL="9130" marR="9130" marT="9130" marB="0" anchor="b">
                    <a:lnL>
                      <a:noFill/>
                    </a:lnL>
                    <a:lnR>
                      <a:noFill/>
                    </a:lnR>
                    <a:lnT>
                      <a:noFill/>
                    </a:lnT>
                    <a:lnB>
                      <a:noFill/>
                    </a:lnB>
                    <a:noFill/>
                  </a:tcPr>
                </a:tc>
                <a:extLst>
                  <a:ext uri="{0D108BD9-81ED-4DB2-BD59-A6C34878D82A}">
                    <a16:rowId xmlns:a16="http://schemas.microsoft.com/office/drawing/2014/main" val="501127774"/>
                  </a:ext>
                </a:extLst>
              </a:tr>
              <a:tr h="198186">
                <a:tc>
                  <a:txBody>
                    <a:bodyPr/>
                    <a:lstStyle/>
                    <a:p>
                      <a:pPr algn="l" fontAlgn="b"/>
                      <a:r>
                        <a:rPr lang="en-US" sz="900" b="0" i="0" u="none" strike="noStrike">
                          <a:solidFill>
                            <a:srgbClr val="000000"/>
                          </a:solidFill>
                          <a:effectLst/>
                          <a:latin typeface="+mj-lt"/>
                        </a:rPr>
                        <a:t>Target Price</a:t>
                      </a: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57.69</a:t>
                      </a:r>
                    </a:p>
                  </a:txBody>
                  <a:tcPr marL="9130" marR="9130" marT="9130" marB="0" anchor="b">
                    <a:lnL>
                      <a:noFill/>
                    </a:lnL>
                    <a:lnR>
                      <a:noFill/>
                    </a:lnR>
                    <a:lnT>
                      <a:noFill/>
                    </a:lnT>
                    <a:lnB>
                      <a:noFill/>
                    </a:lnB>
                    <a:noFill/>
                  </a:tcPr>
                </a:tc>
                <a:extLst>
                  <a:ext uri="{0D108BD9-81ED-4DB2-BD59-A6C34878D82A}">
                    <a16:rowId xmlns:a16="http://schemas.microsoft.com/office/drawing/2014/main" val="3398238709"/>
                  </a:ext>
                </a:extLst>
              </a:tr>
              <a:tr h="198186">
                <a:tc>
                  <a:txBody>
                    <a:bodyPr/>
                    <a:lstStyle/>
                    <a:p>
                      <a:pPr algn="l" fontAlgn="b"/>
                      <a:r>
                        <a:rPr lang="en-US" sz="900" b="0" i="0" u="none" strike="noStrike">
                          <a:solidFill>
                            <a:srgbClr val="000000"/>
                          </a:solidFill>
                          <a:effectLst/>
                          <a:latin typeface="+mj-lt"/>
                        </a:rPr>
                        <a:t>Total Return</a:t>
                      </a: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28.37%</a:t>
                      </a:r>
                    </a:p>
                  </a:txBody>
                  <a:tcPr marL="9130" marR="9130" marT="9130" marB="0" anchor="b">
                    <a:lnL>
                      <a:noFill/>
                    </a:lnL>
                    <a:lnR>
                      <a:noFill/>
                    </a:lnR>
                    <a:lnT>
                      <a:noFill/>
                    </a:lnT>
                    <a:lnB>
                      <a:noFill/>
                    </a:lnB>
                    <a:noFill/>
                  </a:tcPr>
                </a:tc>
                <a:extLst>
                  <a:ext uri="{0D108BD9-81ED-4DB2-BD59-A6C34878D82A}">
                    <a16:rowId xmlns:a16="http://schemas.microsoft.com/office/drawing/2014/main" val="210684203"/>
                  </a:ext>
                </a:extLst>
              </a:tr>
              <a:tr h="198186">
                <a:tc>
                  <a:txBody>
                    <a:bodyPr/>
                    <a:lstStyle/>
                    <a:p>
                      <a:pPr algn="l" fontAlgn="b"/>
                      <a:r>
                        <a:rPr lang="en-US" sz="900" b="0" i="0" u="none" strike="noStrike">
                          <a:solidFill>
                            <a:srgbClr val="000000"/>
                          </a:solidFill>
                          <a:effectLst/>
                          <a:latin typeface="+mj-lt"/>
                        </a:rPr>
                        <a:t>Market Cap</a:t>
                      </a: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2.26B</a:t>
                      </a:r>
                    </a:p>
                  </a:txBody>
                  <a:tcPr marL="9130" marR="9130" marT="9130" marB="0" anchor="b">
                    <a:lnL>
                      <a:noFill/>
                    </a:lnL>
                    <a:lnR>
                      <a:noFill/>
                    </a:lnR>
                    <a:lnT>
                      <a:noFill/>
                    </a:lnT>
                    <a:lnB>
                      <a:noFill/>
                    </a:lnB>
                    <a:noFill/>
                  </a:tcPr>
                </a:tc>
                <a:extLst>
                  <a:ext uri="{0D108BD9-81ED-4DB2-BD59-A6C34878D82A}">
                    <a16:rowId xmlns:a16="http://schemas.microsoft.com/office/drawing/2014/main" val="3750643732"/>
                  </a:ext>
                </a:extLst>
              </a:tr>
              <a:tr h="198186">
                <a:tc>
                  <a:txBody>
                    <a:bodyPr/>
                    <a:lstStyle/>
                    <a:p>
                      <a:pPr algn="l" fontAlgn="b"/>
                      <a:r>
                        <a:rPr lang="en-US" sz="900" b="0" i="0" u="none" strike="noStrike">
                          <a:solidFill>
                            <a:srgbClr val="000000"/>
                          </a:solidFill>
                          <a:effectLst/>
                          <a:latin typeface="+mj-lt"/>
                        </a:rPr>
                        <a:t>(-) Cash</a:t>
                      </a:r>
                    </a:p>
                  </a:txBody>
                  <a:tcPr marL="8217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222.9M</a:t>
                      </a:r>
                    </a:p>
                  </a:txBody>
                  <a:tcPr marL="9130" marR="9130" marT="9130" marB="0" anchor="b">
                    <a:lnL>
                      <a:noFill/>
                    </a:lnL>
                    <a:lnR>
                      <a:noFill/>
                    </a:lnR>
                    <a:lnT>
                      <a:noFill/>
                    </a:lnT>
                    <a:lnB>
                      <a:noFill/>
                    </a:lnB>
                    <a:noFill/>
                  </a:tcPr>
                </a:tc>
                <a:extLst>
                  <a:ext uri="{0D108BD9-81ED-4DB2-BD59-A6C34878D82A}">
                    <a16:rowId xmlns:a16="http://schemas.microsoft.com/office/drawing/2014/main" val="2214971958"/>
                  </a:ext>
                </a:extLst>
              </a:tr>
              <a:tr h="198186">
                <a:tc>
                  <a:txBody>
                    <a:bodyPr/>
                    <a:lstStyle/>
                    <a:p>
                      <a:pPr algn="l" fontAlgn="b"/>
                      <a:r>
                        <a:rPr lang="en-US" sz="900" b="0" i="0" u="none" strike="noStrike">
                          <a:solidFill>
                            <a:srgbClr val="000000"/>
                          </a:solidFill>
                          <a:effectLst/>
                          <a:latin typeface="+mj-lt"/>
                        </a:rPr>
                        <a:t>(+) Debt</a:t>
                      </a:r>
                    </a:p>
                  </a:txBody>
                  <a:tcPr marL="8217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49.8M</a:t>
                      </a:r>
                    </a:p>
                  </a:txBody>
                  <a:tcPr marL="9130" marR="9130" marT="9130" marB="0" anchor="b">
                    <a:lnL>
                      <a:noFill/>
                    </a:lnL>
                    <a:lnR>
                      <a:noFill/>
                    </a:lnR>
                    <a:lnT>
                      <a:noFill/>
                    </a:lnT>
                    <a:lnB>
                      <a:noFill/>
                    </a:lnB>
                    <a:noFill/>
                  </a:tcPr>
                </a:tc>
                <a:extLst>
                  <a:ext uri="{0D108BD9-81ED-4DB2-BD59-A6C34878D82A}">
                    <a16:rowId xmlns:a16="http://schemas.microsoft.com/office/drawing/2014/main" val="623825607"/>
                  </a:ext>
                </a:extLst>
              </a:tr>
              <a:tr h="198186">
                <a:tc>
                  <a:txBody>
                    <a:bodyPr/>
                    <a:lstStyle/>
                    <a:p>
                      <a:pPr algn="l" fontAlgn="b"/>
                      <a:r>
                        <a:rPr lang="en-US" sz="900" b="0" i="0" u="none" strike="noStrike">
                          <a:solidFill>
                            <a:srgbClr val="000000"/>
                          </a:solidFill>
                          <a:effectLst/>
                          <a:latin typeface="+mj-lt"/>
                        </a:rPr>
                        <a:t>Net Debt</a:t>
                      </a: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73.1M</a:t>
                      </a:r>
                    </a:p>
                  </a:txBody>
                  <a:tcPr marL="9130" marR="9130" marT="9130" marB="0" anchor="b">
                    <a:lnL>
                      <a:noFill/>
                    </a:lnL>
                    <a:lnR>
                      <a:noFill/>
                    </a:lnR>
                    <a:lnT>
                      <a:noFill/>
                    </a:lnT>
                    <a:lnB>
                      <a:noFill/>
                    </a:lnB>
                    <a:noFill/>
                  </a:tcPr>
                </a:tc>
                <a:extLst>
                  <a:ext uri="{0D108BD9-81ED-4DB2-BD59-A6C34878D82A}">
                    <a16:rowId xmlns:a16="http://schemas.microsoft.com/office/drawing/2014/main" val="3771662868"/>
                  </a:ext>
                </a:extLst>
              </a:tr>
              <a:tr h="198186">
                <a:tc>
                  <a:txBody>
                    <a:bodyPr/>
                    <a:lstStyle/>
                    <a:p>
                      <a:pPr algn="l" fontAlgn="b"/>
                      <a:r>
                        <a:rPr lang="en-US" sz="900" b="0" i="0" u="none" strike="noStrike">
                          <a:solidFill>
                            <a:srgbClr val="000000"/>
                          </a:solidFill>
                          <a:effectLst/>
                          <a:latin typeface="+mj-lt"/>
                        </a:rPr>
                        <a:t>Enterprise Value</a:t>
                      </a: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2.08B</a:t>
                      </a:r>
                    </a:p>
                  </a:txBody>
                  <a:tcPr marL="9130" marR="9130" marT="9130" marB="0" anchor="b">
                    <a:lnL>
                      <a:noFill/>
                    </a:lnL>
                    <a:lnR>
                      <a:noFill/>
                    </a:lnR>
                    <a:lnT>
                      <a:noFill/>
                    </a:lnT>
                    <a:lnB>
                      <a:noFill/>
                    </a:lnB>
                    <a:noFill/>
                  </a:tcPr>
                </a:tc>
                <a:extLst>
                  <a:ext uri="{0D108BD9-81ED-4DB2-BD59-A6C34878D82A}">
                    <a16:rowId xmlns:a16="http://schemas.microsoft.com/office/drawing/2014/main" val="2484028721"/>
                  </a:ext>
                </a:extLst>
              </a:tr>
              <a:tr h="198186">
                <a:tc>
                  <a:txBody>
                    <a:bodyPr/>
                    <a:lstStyle/>
                    <a:p>
                      <a:pPr algn="l" fontAlgn="b"/>
                      <a:r>
                        <a:rPr lang="en-US" sz="900" b="0" i="0" u="none" strike="noStrike">
                          <a:solidFill>
                            <a:srgbClr val="000000"/>
                          </a:solidFill>
                          <a:effectLst/>
                          <a:latin typeface="+mj-lt"/>
                        </a:rPr>
                        <a:t>Dividend Yield</a:t>
                      </a: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0.0%</a:t>
                      </a:r>
                    </a:p>
                  </a:txBody>
                  <a:tcPr marL="9130" marR="9130" marT="9130" marB="0" anchor="b">
                    <a:lnL>
                      <a:noFill/>
                    </a:lnL>
                    <a:lnR>
                      <a:noFill/>
                    </a:lnR>
                    <a:lnT>
                      <a:noFill/>
                    </a:lnT>
                    <a:lnB>
                      <a:noFill/>
                    </a:lnB>
                    <a:noFill/>
                  </a:tcPr>
                </a:tc>
                <a:extLst>
                  <a:ext uri="{0D108BD9-81ED-4DB2-BD59-A6C34878D82A}">
                    <a16:rowId xmlns:a16="http://schemas.microsoft.com/office/drawing/2014/main" val="3694212241"/>
                  </a:ext>
                </a:extLst>
              </a:tr>
              <a:tr h="191859">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r" fontAlgn="b"/>
                      <a:endParaRPr lang="en-US" sz="900" b="0" i="1"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0" u="none" strike="noStrike">
                        <a:solidFill>
                          <a:srgbClr val="000000"/>
                        </a:solidFill>
                        <a:effectLst/>
                        <a:latin typeface="+mj-lt"/>
                      </a:endParaRPr>
                    </a:p>
                  </a:txBody>
                  <a:tcPr marL="9130" marR="9130" marT="9130" marB="0" anchor="b">
                    <a:lnL>
                      <a:noFill/>
                    </a:lnL>
                    <a:lnR>
                      <a:noFill/>
                    </a:lnR>
                    <a:lnT>
                      <a:noFill/>
                    </a:lnT>
                    <a:lnB>
                      <a:noFill/>
                    </a:lnB>
                    <a:noFill/>
                  </a:tcPr>
                </a:tc>
                <a:extLst>
                  <a:ext uri="{0D108BD9-81ED-4DB2-BD59-A6C34878D82A}">
                    <a16:rowId xmlns:a16="http://schemas.microsoft.com/office/drawing/2014/main" val="3156913461"/>
                  </a:ext>
                </a:extLst>
              </a:tr>
              <a:tr h="208095">
                <a:tc>
                  <a:txBody>
                    <a:bodyPr/>
                    <a:lstStyle/>
                    <a:p>
                      <a:pPr algn="l" fontAlgn="b"/>
                      <a:r>
                        <a:rPr lang="en-US" sz="900" b="1" i="0" u="none" strike="noStrike">
                          <a:solidFill>
                            <a:srgbClr val="FFFFFF"/>
                          </a:solidFill>
                          <a:effectLst/>
                          <a:latin typeface="+mj-lt"/>
                        </a:rPr>
                        <a:t>Financials</a:t>
                      </a:r>
                    </a:p>
                  </a:txBody>
                  <a:tcPr marL="9130" marR="9130" marT="9130" marB="0" anchor="b">
                    <a:lnL>
                      <a:noFill/>
                    </a:lnL>
                    <a:lnR>
                      <a:noFill/>
                    </a:lnR>
                    <a:lnT>
                      <a:noFill/>
                    </a:lnT>
                    <a:lnB>
                      <a:noFill/>
                    </a:lnB>
                    <a:solidFill>
                      <a:srgbClr val="0F3557"/>
                    </a:solidFill>
                  </a:tcPr>
                </a:tc>
                <a:tc>
                  <a:txBody>
                    <a:bodyPr/>
                    <a:lstStyle/>
                    <a:p>
                      <a:pPr algn="r" fontAlgn="b"/>
                      <a:r>
                        <a:rPr lang="en-US" sz="900" b="1" i="0" u="none" strike="noStrike">
                          <a:solidFill>
                            <a:srgbClr val="FFFFFF"/>
                          </a:solidFill>
                          <a:effectLst/>
                          <a:latin typeface="+mj-lt"/>
                        </a:rPr>
                        <a:t>2022A</a:t>
                      </a:r>
                    </a:p>
                  </a:txBody>
                  <a:tcPr marL="9130" marR="9130" marT="9130" marB="0" anchor="b">
                    <a:lnL>
                      <a:noFill/>
                    </a:lnL>
                    <a:lnR>
                      <a:noFill/>
                    </a:lnR>
                    <a:lnT>
                      <a:noFill/>
                    </a:lnT>
                    <a:lnB>
                      <a:noFill/>
                    </a:lnB>
                    <a:solidFill>
                      <a:srgbClr val="0F3557"/>
                    </a:solidFill>
                  </a:tcPr>
                </a:tc>
                <a:tc>
                  <a:txBody>
                    <a:bodyPr/>
                    <a:lstStyle/>
                    <a:p>
                      <a:pPr algn="r" fontAlgn="b"/>
                      <a:r>
                        <a:rPr lang="en-US" sz="900" b="1" i="0" u="none" strike="noStrike">
                          <a:solidFill>
                            <a:srgbClr val="FFFFFF"/>
                          </a:solidFill>
                          <a:effectLst/>
                          <a:latin typeface="+mj-lt"/>
                        </a:rPr>
                        <a:t>2023A</a:t>
                      </a:r>
                    </a:p>
                  </a:txBody>
                  <a:tcPr marL="9130" marR="9130" marT="9130" marB="0" anchor="b">
                    <a:lnL>
                      <a:noFill/>
                    </a:lnL>
                    <a:lnR>
                      <a:noFill/>
                    </a:lnR>
                    <a:lnT>
                      <a:noFill/>
                    </a:lnT>
                    <a:lnB>
                      <a:noFill/>
                    </a:lnB>
                    <a:solidFill>
                      <a:srgbClr val="0F3557"/>
                    </a:solidFill>
                  </a:tcPr>
                </a:tc>
                <a:tc>
                  <a:txBody>
                    <a:bodyPr/>
                    <a:lstStyle/>
                    <a:p>
                      <a:pPr algn="r" fontAlgn="b"/>
                      <a:r>
                        <a:rPr lang="en-US" sz="900" b="1" i="0" u="none" strike="noStrike">
                          <a:solidFill>
                            <a:srgbClr val="FFFFFF"/>
                          </a:solidFill>
                          <a:effectLst/>
                          <a:latin typeface="+mj-lt"/>
                        </a:rPr>
                        <a:t>2024E</a:t>
                      </a:r>
                    </a:p>
                  </a:txBody>
                  <a:tcPr marL="9130" marR="9130" marT="9130" marB="0" anchor="b">
                    <a:lnL>
                      <a:noFill/>
                    </a:lnL>
                    <a:lnR>
                      <a:noFill/>
                    </a:lnR>
                    <a:lnT>
                      <a:noFill/>
                    </a:lnT>
                    <a:lnB>
                      <a:noFill/>
                    </a:lnB>
                    <a:solidFill>
                      <a:srgbClr val="0F3557"/>
                    </a:solidFill>
                  </a:tcPr>
                </a:tc>
                <a:tc>
                  <a:txBody>
                    <a:bodyPr/>
                    <a:lstStyle/>
                    <a:p>
                      <a:pPr algn="r" fontAlgn="b"/>
                      <a:r>
                        <a:rPr lang="en-US" sz="900" b="1" i="0" u="none" strike="noStrike">
                          <a:solidFill>
                            <a:srgbClr val="FFFFFF"/>
                          </a:solidFill>
                          <a:effectLst/>
                          <a:latin typeface="+mj-lt"/>
                        </a:rPr>
                        <a:t>2025E</a:t>
                      </a:r>
                    </a:p>
                  </a:txBody>
                  <a:tcPr marL="9130" marR="9130" marT="9130" marB="0" anchor="b">
                    <a:lnL>
                      <a:noFill/>
                    </a:lnL>
                    <a:lnR>
                      <a:noFill/>
                    </a:lnR>
                    <a:lnT>
                      <a:noFill/>
                    </a:lnT>
                    <a:lnB>
                      <a:noFill/>
                    </a:lnB>
                    <a:solidFill>
                      <a:srgbClr val="0F3557"/>
                    </a:solidFill>
                  </a:tcPr>
                </a:tc>
                <a:extLst>
                  <a:ext uri="{0D108BD9-81ED-4DB2-BD59-A6C34878D82A}">
                    <a16:rowId xmlns:a16="http://schemas.microsoft.com/office/drawing/2014/main" val="348014131"/>
                  </a:ext>
                </a:extLst>
              </a:tr>
              <a:tr h="198186">
                <a:tc>
                  <a:txBody>
                    <a:bodyPr/>
                    <a:lstStyle/>
                    <a:p>
                      <a:pPr algn="l" fontAlgn="b"/>
                      <a:r>
                        <a:rPr lang="en-US" sz="900" b="0" i="0" u="none" strike="noStrike">
                          <a:solidFill>
                            <a:srgbClr val="000000"/>
                          </a:solidFill>
                          <a:effectLst/>
                          <a:latin typeface="+mj-lt"/>
                        </a:rPr>
                        <a:t>Revenue</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951.1M</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058B</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164B</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304B</a:t>
                      </a:r>
                    </a:p>
                  </a:txBody>
                  <a:tcPr marL="9130" marR="9130" marT="9130" marB="0" anchor="b">
                    <a:lnL>
                      <a:noFill/>
                    </a:lnL>
                    <a:lnR>
                      <a:noFill/>
                    </a:lnR>
                    <a:lnT>
                      <a:noFill/>
                    </a:lnT>
                    <a:lnB>
                      <a:noFill/>
                    </a:lnB>
                    <a:noFill/>
                  </a:tcPr>
                </a:tc>
                <a:extLst>
                  <a:ext uri="{0D108BD9-81ED-4DB2-BD59-A6C34878D82A}">
                    <a16:rowId xmlns:a16="http://schemas.microsoft.com/office/drawing/2014/main" val="2228828125"/>
                  </a:ext>
                </a:extLst>
              </a:tr>
              <a:tr h="198186">
                <a:tc>
                  <a:txBody>
                    <a:bodyPr/>
                    <a:lstStyle/>
                    <a:p>
                      <a:pPr algn="l" fontAlgn="b"/>
                      <a:r>
                        <a:rPr lang="en-US" sz="900" b="0" i="1" u="none" strike="noStrike">
                          <a:solidFill>
                            <a:srgbClr val="000000"/>
                          </a:solidFill>
                          <a:effectLst/>
                          <a:latin typeface="+mj-lt"/>
                        </a:rPr>
                        <a:t>Growth (Y/Y)</a:t>
                      </a:r>
                    </a:p>
                  </a:txBody>
                  <a:tcPr marL="8217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10.02%</a:t>
                      </a: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11.31%</a:t>
                      </a: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10.00%</a:t>
                      </a: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12.00%</a:t>
                      </a:r>
                    </a:p>
                  </a:txBody>
                  <a:tcPr marL="9130" marR="9130" marT="9130" marB="0" anchor="b">
                    <a:lnL>
                      <a:noFill/>
                    </a:lnL>
                    <a:lnR>
                      <a:noFill/>
                    </a:lnR>
                    <a:lnT>
                      <a:noFill/>
                    </a:lnT>
                    <a:lnB>
                      <a:noFill/>
                    </a:lnB>
                    <a:noFill/>
                  </a:tcPr>
                </a:tc>
                <a:extLst>
                  <a:ext uri="{0D108BD9-81ED-4DB2-BD59-A6C34878D82A}">
                    <a16:rowId xmlns:a16="http://schemas.microsoft.com/office/drawing/2014/main" val="571871372"/>
                  </a:ext>
                </a:extLst>
              </a:tr>
              <a:tr h="198186">
                <a:tc>
                  <a:txBody>
                    <a:bodyPr/>
                    <a:lstStyle/>
                    <a:p>
                      <a:pPr algn="l" fontAlgn="b"/>
                      <a:r>
                        <a:rPr lang="en-US" sz="900" b="0" i="0" u="none" strike="noStrike">
                          <a:solidFill>
                            <a:srgbClr val="000000"/>
                          </a:solidFill>
                          <a:effectLst/>
                          <a:latin typeface="+mj-lt"/>
                        </a:rPr>
                        <a:t>EBITDA</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07.6M</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25.2M</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45.0M</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58.2M</a:t>
                      </a:r>
                    </a:p>
                  </a:txBody>
                  <a:tcPr marL="9130" marR="9130" marT="9130" marB="0" anchor="b">
                    <a:lnL>
                      <a:noFill/>
                    </a:lnL>
                    <a:lnR>
                      <a:noFill/>
                    </a:lnR>
                    <a:lnT>
                      <a:noFill/>
                    </a:lnT>
                    <a:lnB>
                      <a:noFill/>
                    </a:lnB>
                    <a:noFill/>
                  </a:tcPr>
                </a:tc>
                <a:extLst>
                  <a:ext uri="{0D108BD9-81ED-4DB2-BD59-A6C34878D82A}">
                    <a16:rowId xmlns:a16="http://schemas.microsoft.com/office/drawing/2014/main" val="1326187500"/>
                  </a:ext>
                </a:extLst>
              </a:tr>
              <a:tr h="198186">
                <a:tc>
                  <a:txBody>
                    <a:bodyPr/>
                    <a:lstStyle/>
                    <a:p>
                      <a:pPr algn="l" fontAlgn="b"/>
                      <a:r>
                        <a:rPr lang="en-US" sz="900" b="0" i="0" u="none" strike="noStrike">
                          <a:solidFill>
                            <a:srgbClr val="000000"/>
                          </a:solidFill>
                          <a:effectLst/>
                          <a:latin typeface="+mj-lt"/>
                        </a:rPr>
                        <a:t>Margin (%)</a:t>
                      </a:r>
                    </a:p>
                  </a:txBody>
                  <a:tcPr marL="8217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11.3%</a:t>
                      </a: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11.8%</a:t>
                      </a: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12.5%</a:t>
                      </a: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12.1%</a:t>
                      </a:r>
                    </a:p>
                  </a:txBody>
                  <a:tcPr marL="9130" marR="9130" marT="9130" marB="0" anchor="b">
                    <a:lnL>
                      <a:noFill/>
                    </a:lnL>
                    <a:lnR>
                      <a:noFill/>
                    </a:lnR>
                    <a:lnT>
                      <a:noFill/>
                    </a:lnT>
                    <a:lnB>
                      <a:noFill/>
                    </a:lnB>
                    <a:noFill/>
                  </a:tcPr>
                </a:tc>
                <a:extLst>
                  <a:ext uri="{0D108BD9-81ED-4DB2-BD59-A6C34878D82A}">
                    <a16:rowId xmlns:a16="http://schemas.microsoft.com/office/drawing/2014/main" val="67886747"/>
                  </a:ext>
                </a:extLst>
              </a:tr>
              <a:tr h="198186">
                <a:tc>
                  <a:txBody>
                    <a:bodyPr/>
                    <a:lstStyle/>
                    <a:p>
                      <a:pPr algn="l" fontAlgn="b"/>
                      <a:r>
                        <a:rPr lang="en-US" sz="900" b="0" i="0" u="none" strike="noStrike">
                          <a:solidFill>
                            <a:srgbClr val="000000"/>
                          </a:solidFill>
                          <a:effectLst/>
                          <a:latin typeface="+mj-lt"/>
                        </a:rPr>
                        <a:t>Net Income</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56.7M</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68.6M</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80.4M</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86.1M</a:t>
                      </a:r>
                    </a:p>
                  </a:txBody>
                  <a:tcPr marL="9130" marR="9130" marT="9130" marB="0" anchor="b">
                    <a:lnL>
                      <a:noFill/>
                    </a:lnL>
                    <a:lnR>
                      <a:noFill/>
                    </a:lnR>
                    <a:lnT>
                      <a:noFill/>
                    </a:lnT>
                    <a:lnB>
                      <a:noFill/>
                    </a:lnB>
                    <a:noFill/>
                  </a:tcPr>
                </a:tc>
                <a:extLst>
                  <a:ext uri="{0D108BD9-81ED-4DB2-BD59-A6C34878D82A}">
                    <a16:rowId xmlns:a16="http://schemas.microsoft.com/office/drawing/2014/main" val="3440931625"/>
                  </a:ext>
                </a:extLst>
              </a:tr>
              <a:tr h="198186">
                <a:tc>
                  <a:txBody>
                    <a:bodyPr/>
                    <a:lstStyle/>
                    <a:p>
                      <a:pPr algn="l" fontAlgn="b"/>
                      <a:r>
                        <a:rPr lang="en-US" sz="900" b="0" i="1" u="none" strike="noStrike">
                          <a:solidFill>
                            <a:srgbClr val="000000"/>
                          </a:solidFill>
                          <a:effectLst/>
                          <a:latin typeface="+mj-lt"/>
                        </a:rPr>
                        <a:t>Growth (Y/Y)</a:t>
                      </a:r>
                    </a:p>
                  </a:txBody>
                  <a:tcPr marL="8217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24.6%</a:t>
                      </a: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20.9%</a:t>
                      </a: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17.2%</a:t>
                      </a:r>
                    </a:p>
                  </a:txBody>
                  <a:tcPr marL="9130" marR="9130" marT="9130" marB="0" anchor="b">
                    <a:lnL>
                      <a:noFill/>
                    </a:lnL>
                    <a:lnR>
                      <a:noFill/>
                    </a:lnR>
                    <a:lnT>
                      <a:noFill/>
                    </a:lnT>
                    <a:lnB>
                      <a:noFill/>
                    </a:lnB>
                    <a:noFill/>
                  </a:tcPr>
                </a:tc>
                <a:tc>
                  <a:txBody>
                    <a:bodyPr/>
                    <a:lstStyle/>
                    <a:p>
                      <a:pPr algn="r" fontAlgn="b"/>
                      <a:r>
                        <a:rPr lang="en-US" sz="900" b="0" i="1" u="none" strike="noStrike">
                          <a:solidFill>
                            <a:srgbClr val="000000"/>
                          </a:solidFill>
                          <a:effectLst/>
                          <a:latin typeface="+mj-lt"/>
                        </a:rPr>
                        <a:t>6.9%</a:t>
                      </a:r>
                    </a:p>
                  </a:txBody>
                  <a:tcPr marL="9130" marR="9130" marT="9130" marB="0" anchor="b">
                    <a:lnL>
                      <a:noFill/>
                    </a:lnL>
                    <a:lnR>
                      <a:noFill/>
                    </a:lnR>
                    <a:lnT>
                      <a:noFill/>
                    </a:lnT>
                    <a:lnB>
                      <a:noFill/>
                    </a:lnB>
                    <a:noFill/>
                  </a:tcPr>
                </a:tc>
                <a:extLst>
                  <a:ext uri="{0D108BD9-81ED-4DB2-BD59-A6C34878D82A}">
                    <a16:rowId xmlns:a16="http://schemas.microsoft.com/office/drawing/2014/main" val="2010727706"/>
                  </a:ext>
                </a:extLst>
              </a:tr>
              <a:tr h="175318">
                <a:tc>
                  <a:txBody>
                    <a:bodyPr/>
                    <a:lstStyle/>
                    <a:p>
                      <a:pPr algn="l" fontAlgn="b"/>
                      <a:endParaRPr lang="en-US" sz="900" b="0" i="1" u="none" strike="noStrike">
                        <a:solidFill>
                          <a:srgbClr val="000000"/>
                        </a:solidFill>
                        <a:effectLst/>
                        <a:latin typeface="+mj-lt"/>
                      </a:endParaRPr>
                    </a:p>
                  </a:txBody>
                  <a:tcPr marL="82170" marR="9130" marT="9130" marB="0" anchor="b">
                    <a:lnL>
                      <a:noFill/>
                    </a:lnL>
                    <a:lnR>
                      <a:noFill/>
                    </a:lnR>
                    <a:lnT>
                      <a:noFill/>
                    </a:lnT>
                    <a:lnB>
                      <a:noFill/>
                    </a:lnB>
                    <a:noFill/>
                  </a:tcPr>
                </a:tc>
                <a:tc>
                  <a:txBody>
                    <a:bodyPr/>
                    <a:lstStyle/>
                    <a:p>
                      <a:pPr algn="l" fontAlgn="b"/>
                      <a:endParaRPr lang="en-US" sz="900" b="0" i="1"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1"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1" u="none" strike="noStrike">
                        <a:solidFill>
                          <a:srgbClr val="000000"/>
                        </a:solidFill>
                        <a:effectLst/>
                        <a:latin typeface="+mj-lt"/>
                      </a:endParaRPr>
                    </a:p>
                  </a:txBody>
                  <a:tcPr marL="9130" marR="9130" marT="9130" marB="0" anchor="b">
                    <a:lnL>
                      <a:noFill/>
                    </a:lnL>
                    <a:lnR>
                      <a:noFill/>
                    </a:lnR>
                    <a:lnT>
                      <a:noFill/>
                    </a:lnT>
                    <a:lnB>
                      <a:noFill/>
                    </a:lnB>
                    <a:noFill/>
                  </a:tcPr>
                </a:tc>
                <a:tc>
                  <a:txBody>
                    <a:bodyPr/>
                    <a:lstStyle/>
                    <a:p>
                      <a:pPr algn="l" fontAlgn="b"/>
                      <a:endParaRPr lang="en-US" sz="900" b="0" i="1" u="none" strike="noStrike">
                        <a:solidFill>
                          <a:srgbClr val="000000"/>
                        </a:solidFill>
                        <a:effectLst/>
                        <a:latin typeface="+mj-lt"/>
                      </a:endParaRPr>
                    </a:p>
                  </a:txBody>
                  <a:tcPr marL="9130" marR="9130" marT="9130" marB="0" anchor="b">
                    <a:lnL>
                      <a:noFill/>
                    </a:lnL>
                    <a:lnR>
                      <a:noFill/>
                    </a:lnR>
                    <a:lnT>
                      <a:noFill/>
                    </a:lnT>
                    <a:lnB>
                      <a:noFill/>
                    </a:lnB>
                    <a:noFill/>
                  </a:tcPr>
                </a:tc>
                <a:extLst>
                  <a:ext uri="{0D108BD9-81ED-4DB2-BD59-A6C34878D82A}">
                    <a16:rowId xmlns:a16="http://schemas.microsoft.com/office/drawing/2014/main" val="2318878175"/>
                  </a:ext>
                </a:extLst>
              </a:tr>
              <a:tr h="198186">
                <a:tc>
                  <a:txBody>
                    <a:bodyPr/>
                    <a:lstStyle/>
                    <a:p>
                      <a:pPr algn="l" fontAlgn="b"/>
                      <a:r>
                        <a:rPr lang="en-US" sz="900" b="1" i="0" u="none" strike="noStrike">
                          <a:solidFill>
                            <a:srgbClr val="FFFFFF"/>
                          </a:solidFill>
                          <a:effectLst/>
                          <a:latin typeface="+mj-lt"/>
                        </a:rPr>
                        <a:t>Valuation</a:t>
                      </a:r>
                    </a:p>
                  </a:txBody>
                  <a:tcPr marL="9130" marR="9130" marT="9130" marB="0" anchor="b">
                    <a:lnL>
                      <a:noFill/>
                    </a:lnL>
                    <a:lnR>
                      <a:noFill/>
                    </a:lnR>
                    <a:lnT>
                      <a:noFill/>
                    </a:lnT>
                    <a:lnB>
                      <a:noFill/>
                    </a:lnB>
                    <a:solidFill>
                      <a:srgbClr val="0F3557"/>
                    </a:solidFill>
                  </a:tcPr>
                </a:tc>
                <a:tc>
                  <a:txBody>
                    <a:bodyPr/>
                    <a:lstStyle/>
                    <a:p>
                      <a:pPr algn="r" fontAlgn="b"/>
                      <a:r>
                        <a:rPr lang="en-US" sz="900" b="1" i="0" u="none" strike="noStrike">
                          <a:solidFill>
                            <a:srgbClr val="FFFFFF"/>
                          </a:solidFill>
                          <a:effectLst/>
                          <a:latin typeface="+mj-lt"/>
                        </a:rPr>
                        <a:t>2022A</a:t>
                      </a:r>
                    </a:p>
                  </a:txBody>
                  <a:tcPr marL="9130" marR="9130" marT="9130" marB="0" anchor="b">
                    <a:lnL>
                      <a:noFill/>
                    </a:lnL>
                    <a:lnR>
                      <a:noFill/>
                    </a:lnR>
                    <a:lnT>
                      <a:noFill/>
                    </a:lnT>
                    <a:lnB>
                      <a:noFill/>
                    </a:lnB>
                    <a:solidFill>
                      <a:srgbClr val="0F3557"/>
                    </a:solidFill>
                  </a:tcPr>
                </a:tc>
                <a:tc>
                  <a:txBody>
                    <a:bodyPr/>
                    <a:lstStyle/>
                    <a:p>
                      <a:pPr algn="r" fontAlgn="b"/>
                      <a:r>
                        <a:rPr lang="en-US" sz="900" b="1" i="0" u="none" strike="noStrike">
                          <a:solidFill>
                            <a:srgbClr val="FFFFFF"/>
                          </a:solidFill>
                          <a:effectLst/>
                          <a:latin typeface="+mj-lt"/>
                        </a:rPr>
                        <a:t>2023A</a:t>
                      </a:r>
                    </a:p>
                  </a:txBody>
                  <a:tcPr marL="9130" marR="9130" marT="9130" marB="0" anchor="b">
                    <a:lnL>
                      <a:noFill/>
                    </a:lnL>
                    <a:lnR>
                      <a:noFill/>
                    </a:lnR>
                    <a:lnT>
                      <a:noFill/>
                    </a:lnT>
                    <a:lnB>
                      <a:noFill/>
                    </a:lnB>
                    <a:solidFill>
                      <a:srgbClr val="0F3557"/>
                    </a:solidFill>
                  </a:tcPr>
                </a:tc>
                <a:tc>
                  <a:txBody>
                    <a:bodyPr/>
                    <a:lstStyle/>
                    <a:p>
                      <a:pPr algn="r" fontAlgn="b"/>
                      <a:r>
                        <a:rPr lang="en-US" sz="900" b="1" i="0" u="none" strike="noStrike">
                          <a:solidFill>
                            <a:srgbClr val="FFFFFF"/>
                          </a:solidFill>
                          <a:effectLst/>
                          <a:latin typeface="+mj-lt"/>
                        </a:rPr>
                        <a:t>2024E</a:t>
                      </a:r>
                    </a:p>
                  </a:txBody>
                  <a:tcPr marL="9130" marR="9130" marT="9130" marB="0" anchor="b">
                    <a:lnL>
                      <a:noFill/>
                    </a:lnL>
                    <a:lnR>
                      <a:noFill/>
                    </a:lnR>
                    <a:lnT>
                      <a:noFill/>
                    </a:lnT>
                    <a:lnB>
                      <a:noFill/>
                    </a:lnB>
                    <a:solidFill>
                      <a:srgbClr val="0F3557"/>
                    </a:solidFill>
                  </a:tcPr>
                </a:tc>
                <a:tc>
                  <a:txBody>
                    <a:bodyPr/>
                    <a:lstStyle/>
                    <a:p>
                      <a:pPr algn="r" fontAlgn="b"/>
                      <a:r>
                        <a:rPr lang="en-US" sz="900" b="1" i="0" u="none" strike="noStrike">
                          <a:solidFill>
                            <a:srgbClr val="FFFFFF"/>
                          </a:solidFill>
                          <a:effectLst/>
                          <a:latin typeface="+mj-lt"/>
                        </a:rPr>
                        <a:t>2025E</a:t>
                      </a:r>
                    </a:p>
                  </a:txBody>
                  <a:tcPr marL="9130" marR="9130" marT="9130" marB="0" anchor="b">
                    <a:lnL>
                      <a:noFill/>
                    </a:lnL>
                    <a:lnR>
                      <a:noFill/>
                    </a:lnR>
                    <a:lnT>
                      <a:noFill/>
                    </a:lnT>
                    <a:lnB>
                      <a:noFill/>
                    </a:lnB>
                    <a:solidFill>
                      <a:srgbClr val="0F3557"/>
                    </a:solidFill>
                  </a:tcPr>
                </a:tc>
                <a:extLst>
                  <a:ext uri="{0D108BD9-81ED-4DB2-BD59-A6C34878D82A}">
                    <a16:rowId xmlns:a16="http://schemas.microsoft.com/office/drawing/2014/main" val="1935506594"/>
                  </a:ext>
                </a:extLst>
              </a:tr>
              <a:tr h="198186">
                <a:tc>
                  <a:txBody>
                    <a:bodyPr/>
                    <a:lstStyle/>
                    <a:p>
                      <a:pPr algn="l" fontAlgn="b"/>
                      <a:r>
                        <a:rPr lang="en-US" sz="900" b="0" i="0" u="none" strike="noStrike">
                          <a:solidFill>
                            <a:srgbClr val="000000"/>
                          </a:solidFill>
                          <a:effectLst/>
                          <a:latin typeface="+mj-lt"/>
                        </a:rPr>
                        <a:t>EV/Revenue</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9x</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8x</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8x</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6x</a:t>
                      </a:r>
                    </a:p>
                  </a:txBody>
                  <a:tcPr marL="9130" marR="9130" marT="9130" marB="0" anchor="b">
                    <a:lnL>
                      <a:noFill/>
                    </a:lnL>
                    <a:lnR>
                      <a:noFill/>
                    </a:lnR>
                    <a:lnT>
                      <a:noFill/>
                    </a:lnT>
                    <a:lnB>
                      <a:noFill/>
                    </a:lnB>
                    <a:noFill/>
                  </a:tcPr>
                </a:tc>
                <a:extLst>
                  <a:ext uri="{0D108BD9-81ED-4DB2-BD59-A6C34878D82A}">
                    <a16:rowId xmlns:a16="http://schemas.microsoft.com/office/drawing/2014/main" val="3463681426"/>
                  </a:ext>
                </a:extLst>
              </a:tr>
              <a:tr h="198186">
                <a:tc>
                  <a:txBody>
                    <a:bodyPr/>
                    <a:lstStyle/>
                    <a:p>
                      <a:pPr algn="l" fontAlgn="b"/>
                      <a:r>
                        <a:rPr lang="en-US" sz="900" b="0" i="0" u="none" strike="noStrike">
                          <a:solidFill>
                            <a:srgbClr val="000000"/>
                          </a:solidFill>
                          <a:effectLst/>
                          <a:latin typeface="+mj-lt"/>
                        </a:rPr>
                        <a:t>EV/EBITDA</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6.2x</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6.4x</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4.4x</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13.2x</a:t>
                      </a:r>
                    </a:p>
                  </a:txBody>
                  <a:tcPr marL="9130" marR="9130" marT="9130" marB="0" anchor="b">
                    <a:lnL>
                      <a:noFill/>
                    </a:lnL>
                    <a:lnR>
                      <a:noFill/>
                    </a:lnR>
                    <a:lnT>
                      <a:noFill/>
                    </a:lnT>
                    <a:lnB>
                      <a:noFill/>
                    </a:lnB>
                    <a:noFill/>
                  </a:tcPr>
                </a:tc>
                <a:extLst>
                  <a:ext uri="{0D108BD9-81ED-4DB2-BD59-A6C34878D82A}">
                    <a16:rowId xmlns:a16="http://schemas.microsoft.com/office/drawing/2014/main" val="4216627426"/>
                  </a:ext>
                </a:extLst>
              </a:tr>
              <a:tr h="198186">
                <a:tc>
                  <a:txBody>
                    <a:bodyPr/>
                    <a:lstStyle/>
                    <a:p>
                      <a:pPr algn="l" fontAlgn="b"/>
                      <a:r>
                        <a:rPr lang="en-US" sz="900" b="0" i="0" u="none" strike="noStrike">
                          <a:solidFill>
                            <a:srgbClr val="000000"/>
                          </a:solidFill>
                          <a:effectLst/>
                          <a:latin typeface="+mj-lt"/>
                        </a:rPr>
                        <a:t>P/E</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24.2x</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25.3x</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28.1x</a:t>
                      </a:r>
                    </a:p>
                  </a:txBody>
                  <a:tcPr marL="9130" marR="9130" marT="9130" marB="0" anchor="b">
                    <a:lnL>
                      <a:noFill/>
                    </a:lnL>
                    <a:lnR>
                      <a:noFill/>
                    </a:lnR>
                    <a:lnT>
                      <a:noFill/>
                    </a:lnT>
                    <a:lnB>
                      <a:noFill/>
                    </a:lnB>
                    <a:noFill/>
                  </a:tcPr>
                </a:tc>
                <a:tc>
                  <a:txBody>
                    <a:bodyPr/>
                    <a:lstStyle/>
                    <a:p>
                      <a:pPr algn="r" fontAlgn="b"/>
                      <a:r>
                        <a:rPr lang="en-US" sz="900" b="0" i="0" u="none" strike="noStrike">
                          <a:solidFill>
                            <a:srgbClr val="000000"/>
                          </a:solidFill>
                          <a:effectLst/>
                          <a:latin typeface="+mj-lt"/>
                        </a:rPr>
                        <a:t>26.3x</a:t>
                      </a:r>
                    </a:p>
                  </a:txBody>
                  <a:tcPr marL="9130" marR="9130" marT="9130" marB="0" anchor="b">
                    <a:lnL>
                      <a:noFill/>
                    </a:lnL>
                    <a:lnR>
                      <a:noFill/>
                    </a:lnR>
                    <a:lnT>
                      <a:noFill/>
                    </a:lnT>
                    <a:lnB>
                      <a:noFill/>
                    </a:lnB>
                    <a:noFill/>
                  </a:tcPr>
                </a:tc>
                <a:extLst>
                  <a:ext uri="{0D108BD9-81ED-4DB2-BD59-A6C34878D82A}">
                    <a16:rowId xmlns:a16="http://schemas.microsoft.com/office/drawing/2014/main" val="3603909008"/>
                  </a:ext>
                </a:extLst>
              </a:tr>
            </a:tbl>
          </a:graphicData>
        </a:graphic>
      </p:graphicFrame>
      <p:graphicFrame>
        <p:nvGraphicFramePr>
          <p:cNvPr id="4" name="Chart 3">
            <a:extLst>
              <a:ext uri="{FF2B5EF4-FFF2-40B4-BE49-F238E27FC236}">
                <a16:creationId xmlns:a16="http://schemas.microsoft.com/office/drawing/2014/main" id="{BD964CE3-8288-03AC-048F-3470305213CA}"/>
              </a:ext>
            </a:extLst>
          </p:cNvPr>
          <p:cNvGraphicFramePr/>
          <p:nvPr>
            <p:extLst>
              <p:ext uri="{D42A27DB-BD31-4B8C-83A1-F6EECF244321}">
                <p14:modId xmlns:p14="http://schemas.microsoft.com/office/powerpoint/2010/main" val="2066100960"/>
              </p:ext>
            </p:extLst>
          </p:nvPr>
        </p:nvGraphicFramePr>
        <p:xfrm>
          <a:off x="250826" y="1054654"/>
          <a:ext cx="5117148" cy="2653831"/>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2223519660"/>
      </p:ext>
    </p:extLst>
  </p:cSld>
  <p:clrMapOvr>
    <a:masterClrMapping/>
  </p:clrMapOvr>
  <p:extLst>
    <p:ext uri="{6950BFC3-D8DA-4A85-94F7-54DA5524770B}">
      <p188:commentRel xmlns:p188="http://schemas.microsoft.com/office/powerpoint/2018/8/main" r:id="rId4"/>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4AF397-DE02-0CD5-4A88-C79291A40408}"/>
              </a:ext>
            </a:extLst>
          </p:cNvPr>
          <p:cNvSpPr>
            <a:spLocks noGrp="1"/>
          </p:cNvSpPr>
          <p:nvPr>
            <p:ph type="body" sz="quarter" idx="13"/>
          </p:nvPr>
        </p:nvSpPr>
        <p:spPr/>
        <p:txBody>
          <a:bodyPr/>
          <a:lstStyle/>
          <a:p>
            <a:r>
              <a:rPr lang="en-CA"/>
              <a:t>Source(s): </a:t>
            </a:r>
            <a:r>
              <a:rPr lang="en-CA" err="1"/>
              <a:t>Factset</a:t>
            </a:r>
            <a:endParaRPr lang="en-CA"/>
          </a:p>
          <a:p>
            <a:endParaRPr lang="en-CA"/>
          </a:p>
        </p:txBody>
      </p:sp>
      <p:sp>
        <p:nvSpPr>
          <p:cNvPr id="3" name="Text Placeholder 2">
            <a:extLst>
              <a:ext uri="{FF2B5EF4-FFF2-40B4-BE49-F238E27FC236}">
                <a16:creationId xmlns:a16="http://schemas.microsoft.com/office/drawing/2014/main" id="{EE7F510A-CD69-0A2C-039B-64F0CB9FEB79}"/>
              </a:ext>
            </a:extLst>
          </p:cNvPr>
          <p:cNvSpPr>
            <a:spLocks noGrp="1"/>
          </p:cNvSpPr>
          <p:nvPr>
            <p:ph type="body" sz="quarter" idx="21"/>
          </p:nvPr>
        </p:nvSpPr>
        <p:spPr/>
        <p:txBody>
          <a:bodyPr/>
          <a:lstStyle/>
          <a:p>
            <a:r>
              <a:rPr lang="en-CA"/>
              <a:t>Buy Rating on NASDAQ: ADUS – Projected Implied Upside of 28.37% </a:t>
            </a:r>
          </a:p>
        </p:txBody>
      </p:sp>
      <p:sp>
        <p:nvSpPr>
          <p:cNvPr id="4" name="Title 3">
            <a:extLst>
              <a:ext uri="{FF2B5EF4-FFF2-40B4-BE49-F238E27FC236}">
                <a16:creationId xmlns:a16="http://schemas.microsoft.com/office/drawing/2014/main" id="{4458699F-1BB7-CC9C-C5E9-A487F9647986}"/>
              </a:ext>
            </a:extLst>
          </p:cNvPr>
          <p:cNvSpPr>
            <a:spLocks noGrp="1"/>
          </p:cNvSpPr>
          <p:nvPr>
            <p:ph type="title"/>
          </p:nvPr>
        </p:nvSpPr>
        <p:spPr/>
        <p:txBody>
          <a:bodyPr/>
          <a:lstStyle/>
          <a:p>
            <a:r>
              <a:rPr lang="en-CA"/>
              <a:t>Recommendation Summary</a:t>
            </a:r>
          </a:p>
        </p:txBody>
      </p:sp>
      <p:sp>
        <p:nvSpPr>
          <p:cNvPr id="5" name="Text Placeholder 4">
            <a:extLst>
              <a:ext uri="{FF2B5EF4-FFF2-40B4-BE49-F238E27FC236}">
                <a16:creationId xmlns:a16="http://schemas.microsoft.com/office/drawing/2014/main" id="{426E42A0-EAD9-BC73-BCB6-E0288F1FC41D}"/>
              </a:ext>
            </a:extLst>
          </p:cNvPr>
          <p:cNvSpPr>
            <a:spLocks noGrp="1"/>
          </p:cNvSpPr>
          <p:nvPr>
            <p:ph type="body" idx="22"/>
          </p:nvPr>
        </p:nvSpPr>
        <p:spPr/>
        <p:txBody>
          <a:bodyPr/>
          <a:lstStyle/>
          <a:p>
            <a:r>
              <a:rPr lang="en-CA"/>
              <a:t>Valuation Summary</a:t>
            </a:r>
          </a:p>
        </p:txBody>
      </p:sp>
      <p:sp>
        <p:nvSpPr>
          <p:cNvPr id="7" name="Text Placeholder 6">
            <a:extLst>
              <a:ext uri="{FF2B5EF4-FFF2-40B4-BE49-F238E27FC236}">
                <a16:creationId xmlns:a16="http://schemas.microsoft.com/office/drawing/2014/main" id="{C2FBEE41-79EE-F430-2D44-E55B6AD18EF0}"/>
              </a:ext>
            </a:extLst>
          </p:cNvPr>
          <p:cNvSpPr>
            <a:spLocks noGrp="1"/>
          </p:cNvSpPr>
          <p:nvPr>
            <p:ph type="body" idx="26"/>
          </p:nvPr>
        </p:nvSpPr>
        <p:spPr/>
        <p:txBody>
          <a:bodyPr/>
          <a:lstStyle/>
          <a:p>
            <a:r>
              <a:rPr lang="en-CA"/>
              <a:t>Target Price Summary</a:t>
            </a:r>
          </a:p>
        </p:txBody>
      </p:sp>
      <p:sp>
        <p:nvSpPr>
          <p:cNvPr id="8" name="Text Placeholder 7">
            <a:extLst>
              <a:ext uri="{FF2B5EF4-FFF2-40B4-BE49-F238E27FC236}">
                <a16:creationId xmlns:a16="http://schemas.microsoft.com/office/drawing/2014/main" id="{E4555933-5ED7-C1FD-F08C-ED069F13F8D5}"/>
              </a:ext>
            </a:extLst>
          </p:cNvPr>
          <p:cNvSpPr>
            <a:spLocks noGrp="1"/>
          </p:cNvSpPr>
          <p:nvPr>
            <p:ph type="body" idx="27"/>
          </p:nvPr>
        </p:nvSpPr>
        <p:spPr/>
        <p:txBody>
          <a:bodyPr/>
          <a:lstStyle/>
          <a:p>
            <a:r>
              <a:rPr lang="en-CA"/>
              <a:t>Reconciled Valuation</a:t>
            </a:r>
          </a:p>
        </p:txBody>
      </p:sp>
      <p:graphicFrame>
        <p:nvGraphicFramePr>
          <p:cNvPr id="18" name="Content Placeholder 17">
            <a:extLst>
              <a:ext uri="{FF2B5EF4-FFF2-40B4-BE49-F238E27FC236}">
                <a16:creationId xmlns:a16="http://schemas.microsoft.com/office/drawing/2014/main" id="{A17656E3-0302-3461-02B7-ED725CD461F8}"/>
              </a:ext>
            </a:extLst>
          </p:cNvPr>
          <p:cNvGraphicFramePr>
            <a:graphicFrameLocks noGrp="1"/>
          </p:cNvGraphicFramePr>
          <p:nvPr>
            <p:ph sz="quarter" idx="28"/>
            <p:extLst>
              <p:ext uri="{D42A27DB-BD31-4B8C-83A1-F6EECF244321}">
                <p14:modId xmlns:p14="http://schemas.microsoft.com/office/powerpoint/2010/main" val="3599964883"/>
              </p:ext>
            </p:extLst>
          </p:nvPr>
        </p:nvGraphicFramePr>
        <p:xfrm>
          <a:off x="4751388" y="1384300"/>
          <a:ext cx="4141786" cy="730511"/>
        </p:xfrm>
        <a:graphic>
          <a:graphicData uri="http://schemas.openxmlformats.org/drawingml/2006/table">
            <a:tbl>
              <a:tblPr/>
              <a:tblGrid>
                <a:gridCol w="3190562">
                  <a:extLst>
                    <a:ext uri="{9D8B030D-6E8A-4147-A177-3AD203B41FA5}">
                      <a16:colId xmlns:a16="http://schemas.microsoft.com/office/drawing/2014/main" val="4086983278"/>
                    </a:ext>
                  </a:extLst>
                </a:gridCol>
                <a:gridCol w="951224">
                  <a:extLst>
                    <a:ext uri="{9D8B030D-6E8A-4147-A177-3AD203B41FA5}">
                      <a16:colId xmlns:a16="http://schemas.microsoft.com/office/drawing/2014/main" val="3500177741"/>
                    </a:ext>
                  </a:extLst>
                </a:gridCol>
              </a:tblGrid>
              <a:tr h="246933">
                <a:tc>
                  <a:txBody>
                    <a:bodyPr/>
                    <a:lstStyle/>
                    <a:p>
                      <a:pPr algn="l" fontAlgn="b"/>
                      <a:r>
                        <a:rPr lang="en-CA" sz="1000" b="0" i="0" u="none" strike="noStrike">
                          <a:solidFill>
                            <a:srgbClr val="000000"/>
                          </a:solidFill>
                          <a:effectLst/>
                          <a:latin typeface="Arial" panose="020B0604020202020204" pitchFamily="34" charset="0"/>
                        </a:rPr>
                        <a:t>Implied Share Price</a:t>
                      </a:r>
                    </a:p>
                  </a:txBody>
                  <a:tcPr marL="7620" marR="7620" marT="7620" marB="0" anchor="b">
                    <a:lnL>
                      <a:noFill/>
                    </a:lnL>
                    <a:lnR>
                      <a:noFill/>
                    </a:lnR>
                    <a:lnT>
                      <a:noFill/>
                    </a:lnT>
                    <a:lnB>
                      <a:noFill/>
                    </a:lnB>
                    <a:noFill/>
                  </a:tcPr>
                </a:tc>
                <a:tc>
                  <a:txBody>
                    <a:bodyPr/>
                    <a:lstStyle/>
                    <a:p>
                      <a:pPr algn="r" fontAlgn="b"/>
                      <a:r>
                        <a:rPr lang="en-CA" sz="1000" b="0" i="0" u="none" strike="noStrike">
                          <a:solidFill>
                            <a:srgbClr val="000000"/>
                          </a:solidFill>
                          <a:effectLst/>
                          <a:latin typeface="Arial" panose="020B0604020202020204" pitchFamily="34" charset="0"/>
                        </a:rPr>
                        <a:t>$157.63</a:t>
                      </a:r>
                    </a:p>
                  </a:txBody>
                  <a:tcPr marL="7620" marR="7620" marT="7620" marB="0" anchor="b">
                    <a:lnL>
                      <a:noFill/>
                    </a:lnL>
                    <a:lnR>
                      <a:noFill/>
                    </a:lnR>
                    <a:lnT>
                      <a:noFill/>
                    </a:lnT>
                    <a:lnB>
                      <a:noFill/>
                    </a:lnB>
                    <a:noFill/>
                  </a:tcPr>
                </a:tc>
                <a:extLst>
                  <a:ext uri="{0D108BD9-81ED-4DB2-BD59-A6C34878D82A}">
                    <a16:rowId xmlns:a16="http://schemas.microsoft.com/office/drawing/2014/main" val="2907458308"/>
                  </a:ext>
                </a:extLst>
              </a:tr>
              <a:tr h="236645">
                <a:tc>
                  <a:txBody>
                    <a:bodyPr/>
                    <a:lstStyle/>
                    <a:p>
                      <a:pPr algn="l" fontAlgn="b"/>
                      <a:r>
                        <a:rPr lang="en-CA" sz="1000" b="0" i="0" u="none" strike="noStrike">
                          <a:solidFill>
                            <a:srgbClr val="000000"/>
                          </a:solidFill>
                          <a:effectLst/>
                          <a:latin typeface="Arial" panose="020B0604020202020204" pitchFamily="34" charset="0"/>
                        </a:rPr>
                        <a:t>Current Share Price (As of Nov 29th)</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1000" b="0" i="0" u="none" strike="noStrike">
                          <a:solidFill>
                            <a:srgbClr val="000000"/>
                          </a:solidFill>
                          <a:effectLst/>
                          <a:latin typeface="Arial" panose="020B0604020202020204" pitchFamily="34" charset="0"/>
                        </a:rPr>
                        <a:t>$122.84</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2097018"/>
                  </a:ext>
                </a:extLst>
              </a:tr>
              <a:tr h="246933">
                <a:tc>
                  <a:txBody>
                    <a:bodyPr/>
                    <a:lstStyle/>
                    <a:p>
                      <a:pPr algn="l" fontAlgn="b"/>
                      <a:r>
                        <a:rPr lang="en-CA" sz="1000" b="0" i="0" u="none" strike="noStrike">
                          <a:solidFill>
                            <a:srgbClr val="000000"/>
                          </a:solidFill>
                          <a:effectLst/>
                          <a:latin typeface="Arial" panose="020B0604020202020204" pitchFamily="34" charset="0"/>
                        </a:rPr>
                        <a:t>Implied Upside</a:t>
                      </a:r>
                    </a:p>
                  </a:txBody>
                  <a:tcPr marL="7620" marR="7620" marT="762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fontAlgn="b"/>
                      <a:r>
                        <a:rPr lang="en-CA" sz="1000" b="1" i="0" u="none" strike="noStrike">
                          <a:solidFill>
                            <a:srgbClr val="000000"/>
                          </a:solidFill>
                          <a:effectLst/>
                          <a:latin typeface="Arial" panose="020B0604020202020204" pitchFamily="34" charset="0"/>
                        </a:rPr>
                        <a:t>28.37%</a:t>
                      </a:r>
                    </a:p>
                  </a:txBody>
                  <a:tcPr marL="7620" marR="7620" marT="762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2136540"/>
                  </a:ext>
                </a:extLst>
              </a:tr>
            </a:tbl>
          </a:graphicData>
        </a:graphic>
      </p:graphicFrame>
      <p:sp>
        <p:nvSpPr>
          <p:cNvPr id="12" name="Text Placeholder 11">
            <a:extLst>
              <a:ext uri="{FF2B5EF4-FFF2-40B4-BE49-F238E27FC236}">
                <a16:creationId xmlns:a16="http://schemas.microsoft.com/office/drawing/2014/main" id="{F4DA2742-B516-931F-81F0-A5A23C8C45B3}"/>
              </a:ext>
            </a:extLst>
          </p:cNvPr>
          <p:cNvSpPr>
            <a:spLocks noGrp="1"/>
          </p:cNvSpPr>
          <p:nvPr>
            <p:ph type="body" idx="31"/>
          </p:nvPr>
        </p:nvSpPr>
        <p:spPr/>
        <p:txBody>
          <a:bodyPr/>
          <a:lstStyle/>
          <a:p>
            <a:r>
              <a:rPr lang="en-CA"/>
              <a:t>TFSIG Target Price vs Street Estimates</a:t>
            </a:r>
          </a:p>
        </p:txBody>
      </p:sp>
      <p:sp>
        <p:nvSpPr>
          <p:cNvPr id="19" name="Rectangle 18">
            <a:extLst>
              <a:ext uri="{FF2B5EF4-FFF2-40B4-BE49-F238E27FC236}">
                <a16:creationId xmlns:a16="http://schemas.microsoft.com/office/drawing/2014/main" id="{F4A73155-C814-3F3A-A91C-7B13B309671D}"/>
              </a:ext>
            </a:extLst>
          </p:cNvPr>
          <p:cNvSpPr/>
          <p:nvPr/>
        </p:nvSpPr>
        <p:spPr>
          <a:xfrm>
            <a:off x="4751388" y="2413262"/>
            <a:ext cx="4141786" cy="10157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20" name="TextBox 19">
            <a:extLst>
              <a:ext uri="{FF2B5EF4-FFF2-40B4-BE49-F238E27FC236}">
                <a16:creationId xmlns:a16="http://schemas.microsoft.com/office/drawing/2014/main" id="{34863EC7-6230-F688-3BFC-85164562B621}"/>
              </a:ext>
            </a:extLst>
          </p:cNvPr>
          <p:cNvSpPr txBox="1"/>
          <p:nvPr/>
        </p:nvSpPr>
        <p:spPr>
          <a:xfrm>
            <a:off x="4751386" y="2733773"/>
            <a:ext cx="4141787" cy="400110"/>
          </a:xfrm>
          <a:prstGeom prst="rect">
            <a:avLst/>
          </a:prstGeom>
          <a:noFill/>
        </p:spPr>
        <p:txBody>
          <a:bodyPr wrap="square" rtlCol="0">
            <a:spAutoFit/>
          </a:bodyPr>
          <a:lstStyle/>
          <a:p>
            <a:pPr algn="ctr"/>
            <a:r>
              <a:rPr lang="en-CA" sz="2000">
                <a:solidFill>
                  <a:schemeClr val="bg1"/>
                </a:solidFill>
              </a:rPr>
              <a:t>Rating: Buy</a:t>
            </a:r>
          </a:p>
        </p:txBody>
      </p:sp>
      <p:graphicFrame>
        <p:nvGraphicFramePr>
          <p:cNvPr id="17" name="Content Placeholder 16">
            <a:extLst>
              <a:ext uri="{FF2B5EF4-FFF2-40B4-BE49-F238E27FC236}">
                <a16:creationId xmlns:a16="http://schemas.microsoft.com/office/drawing/2014/main" id="{C5051289-4559-0BBC-8638-94195085D234}"/>
              </a:ext>
            </a:extLst>
          </p:cNvPr>
          <p:cNvGraphicFramePr>
            <a:graphicFrameLocks noGrp="1"/>
          </p:cNvGraphicFramePr>
          <p:nvPr>
            <p:ph sz="quarter" idx="30"/>
            <p:extLst>
              <p:ext uri="{D42A27DB-BD31-4B8C-83A1-F6EECF244321}">
                <p14:modId xmlns:p14="http://schemas.microsoft.com/office/powerpoint/2010/main" val="1149631527"/>
              </p:ext>
            </p:extLst>
          </p:nvPr>
        </p:nvGraphicFramePr>
        <p:xfrm>
          <a:off x="4751388" y="4014788"/>
          <a:ext cx="4141787" cy="2178050"/>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7EB0B573-E55B-11A8-4041-2C63702D29D1}"/>
              </a:ext>
            </a:extLst>
          </p:cNvPr>
          <p:cNvSpPr txBox="1"/>
          <p:nvPr/>
        </p:nvSpPr>
        <p:spPr>
          <a:xfrm>
            <a:off x="5566980" y="5351134"/>
            <a:ext cx="626016" cy="230832"/>
          </a:xfrm>
          <a:prstGeom prst="rect">
            <a:avLst/>
          </a:prstGeom>
          <a:noFill/>
        </p:spPr>
        <p:txBody>
          <a:bodyPr wrap="square" rtlCol="0">
            <a:spAutoFit/>
          </a:bodyPr>
          <a:lstStyle/>
          <a:p>
            <a:r>
              <a:rPr lang="en-CA" sz="900"/>
              <a:t>$136.00</a:t>
            </a:r>
          </a:p>
        </p:txBody>
      </p:sp>
      <p:sp>
        <p:nvSpPr>
          <p:cNvPr id="22" name="TextBox 21">
            <a:extLst>
              <a:ext uri="{FF2B5EF4-FFF2-40B4-BE49-F238E27FC236}">
                <a16:creationId xmlns:a16="http://schemas.microsoft.com/office/drawing/2014/main" id="{5C5283D8-278D-1DC4-4273-84662BC441C2}"/>
              </a:ext>
            </a:extLst>
          </p:cNvPr>
          <p:cNvSpPr txBox="1"/>
          <p:nvPr/>
        </p:nvSpPr>
        <p:spPr>
          <a:xfrm>
            <a:off x="7451804" y="5351134"/>
            <a:ext cx="626016" cy="230832"/>
          </a:xfrm>
          <a:prstGeom prst="rect">
            <a:avLst/>
          </a:prstGeom>
          <a:noFill/>
        </p:spPr>
        <p:txBody>
          <a:bodyPr wrap="square" rtlCol="0">
            <a:spAutoFit/>
          </a:bodyPr>
          <a:lstStyle/>
          <a:p>
            <a:r>
              <a:rPr lang="en-CA" sz="900"/>
              <a:t>$160.00</a:t>
            </a:r>
          </a:p>
        </p:txBody>
      </p:sp>
      <p:cxnSp>
        <p:nvCxnSpPr>
          <p:cNvPr id="24" name="Straight Connector 23">
            <a:extLst>
              <a:ext uri="{FF2B5EF4-FFF2-40B4-BE49-F238E27FC236}">
                <a16:creationId xmlns:a16="http://schemas.microsoft.com/office/drawing/2014/main" id="{3496DCCF-FDDE-F389-EBAB-92885C9436A7}"/>
              </a:ext>
            </a:extLst>
          </p:cNvPr>
          <p:cNvCxnSpPr>
            <a:cxnSpLocks/>
          </p:cNvCxnSpPr>
          <p:nvPr/>
        </p:nvCxnSpPr>
        <p:spPr>
          <a:xfrm flipV="1">
            <a:off x="6653491" y="4181316"/>
            <a:ext cx="0" cy="1730534"/>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D71DF0D-C884-F4C8-052F-B6AAA29E4659}"/>
              </a:ext>
            </a:extLst>
          </p:cNvPr>
          <p:cNvSpPr txBox="1"/>
          <p:nvPr/>
        </p:nvSpPr>
        <p:spPr>
          <a:xfrm>
            <a:off x="5936964" y="3980936"/>
            <a:ext cx="1433053" cy="230832"/>
          </a:xfrm>
          <a:prstGeom prst="rect">
            <a:avLst/>
          </a:prstGeom>
          <a:noFill/>
        </p:spPr>
        <p:txBody>
          <a:bodyPr wrap="square" rtlCol="0">
            <a:spAutoFit/>
          </a:bodyPr>
          <a:lstStyle/>
          <a:p>
            <a:r>
              <a:rPr lang="en-CA" sz="900"/>
              <a:t>Street Average: $145.29</a:t>
            </a:r>
          </a:p>
        </p:txBody>
      </p:sp>
      <mc:AlternateContent xmlns:mc="http://schemas.openxmlformats.org/markup-compatibility/2006">
        <mc:Choice xmlns:cx1="http://schemas.microsoft.com/office/drawing/2015/9/8/chartex" Requires="cx1">
          <p:graphicFrame>
            <p:nvGraphicFramePr>
              <p:cNvPr id="36" name="Content Placeholder 35">
                <a:extLst>
                  <a:ext uri="{FF2B5EF4-FFF2-40B4-BE49-F238E27FC236}">
                    <a16:creationId xmlns:a16="http://schemas.microsoft.com/office/drawing/2014/main" id="{79824EBE-778B-451F-7A41-FB3CFAC35A50}"/>
                  </a:ext>
                </a:extLst>
              </p:cNvPr>
              <p:cNvGraphicFramePr>
                <a:graphicFrameLocks noGrp="1"/>
              </p:cNvGraphicFramePr>
              <p:nvPr>
                <p:ph sz="quarter" idx="23"/>
                <p:extLst>
                  <p:ext uri="{D42A27DB-BD31-4B8C-83A1-F6EECF244321}">
                    <p14:modId xmlns:p14="http://schemas.microsoft.com/office/powerpoint/2010/main" val="3412050767"/>
                  </p:ext>
                </p:extLst>
              </p:nvPr>
            </p:nvGraphicFramePr>
            <p:xfrm>
              <a:off x="250825" y="1384300"/>
              <a:ext cx="4141788" cy="2178050"/>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36" name="Content Placeholder 35">
                <a:extLst>
                  <a:ext uri="{FF2B5EF4-FFF2-40B4-BE49-F238E27FC236}">
                    <a16:creationId xmlns:a16="http://schemas.microsoft.com/office/drawing/2014/main" id="{79824EBE-778B-451F-7A41-FB3CFAC35A50}"/>
                  </a:ext>
                </a:extLst>
              </p:cNvPr>
              <p:cNvPicPr>
                <a:picLocks noGrp="1" noRot="1" noChangeAspect="1" noMove="1" noResize="1" noEditPoints="1" noAdjustHandles="1" noChangeArrowheads="1" noChangeShapeType="1"/>
              </p:cNvPicPr>
              <p:nvPr/>
            </p:nvPicPr>
            <p:blipFill>
              <a:blip r:embed="rId6"/>
              <a:stretch>
                <a:fillRect/>
              </a:stretch>
            </p:blipFill>
            <p:spPr>
              <a:xfrm>
                <a:off x="250825" y="1384300"/>
                <a:ext cx="4141788" cy="2178050"/>
              </a:xfrm>
              <a:prstGeom prst="rect">
                <a:avLst/>
              </a:prstGeom>
            </p:spPr>
          </p:pic>
        </mc:Fallback>
      </mc:AlternateContent>
      <p:sp>
        <p:nvSpPr>
          <p:cNvPr id="9" name="TextBox 8">
            <a:extLst>
              <a:ext uri="{FF2B5EF4-FFF2-40B4-BE49-F238E27FC236}">
                <a16:creationId xmlns:a16="http://schemas.microsoft.com/office/drawing/2014/main" id="{44E5F0BE-7B85-9CD3-3AFB-DBECA0744A6F}"/>
              </a:ext>
            </a:extLst>
          </p:cNvPr>
          <p:cNvSpPr txBox="1"/>
          <p:nvPr/>
        </p:nvSpPr>
        <p:spPr>
          <a:xfrm>
            <a:off x="1087956" y="1860108"/>
            <a:ext cx="626016" cy="230832"/>
          </a:xfrm>
          <a:prstGeom prst="rect">
            <a:avLst/>
          </a:prstGeom>
          <a:noFill/>
        </p:spPr>
        <p:txBody>
          <a:bodyPr wrap="square" rtlCol="0">
            <a:spAutoFit/>
          </a:bodyPr>
          <a:lstStyle/>
          <a:p>
            <a:pPr algn="ctr"/>
            <a:r>
              <a:rPr lang="en-CA" sz="900"/>
              <a:t>$122.84</a:t>
            </a:r>
          </a:p>
        </p:txBody>
      </p:sp>
      <p:sp>
        <p:nvSpPr>
          <p:cNvPr id="11" name="TextBox 10">
            <a:extLst>
              <a:ext uri="{FF2B5EF4-FFF2-40B4-BE49-F238E27FC236}">
                <a16:creationId xmlns:a16="http://schemas.microsoft.com/office/drawing/2014/main" id="{34B3EA86-F37D-105B-425F-E1AF16837311}"/>
              </a:ext>
            </a:extLst>
          </p:cNvPr>
          <p:cNvSpPr txBox="1"/>
          <p:nvPr/>
        </p:nvSpPr>
        <p:spPr>
          <a:xfrm>
            <a:off x="2251036" y="1527197"/>
            <a:ext cx="626016" cy="230832"/>
          </a:xfrm>
          <a:prstGeom prst="rect">
            <a:avLst/>
          </a:prstGeom>
          <a:noFill/>
        </p:spPr>
        <p:txBody>
          <a:bodyPr wrap="square" rtlCol="0">
            <a:spAutoFit/>
          </a:bodyPr>
          <a:lstStyle/>
          <a:p>
            <a:pPr algn="ctr"/>
            <a:r>
              <a:rPr lang="en-CA" sz="900"/>
              <a:t>$34.80</a:t>
            </a:r>
          </a:p>
        </p:txBody>
      </p:sp>
      <p:sp>
        <p:nvSpPr>
          <p:cNvPr id="13" name="TextBox 12">
            <a:extLst>
              <a:ext uri="{FF2B5EF4-FFF2-40B4-BE49-F238E27FC236}">
                <a16:creationId xmlns:a16="http://schemas.microsoft.com/office/drawing/2014/main" id="{247AA920-4B90-89E9-1A38-FFDEED18821D}"/>
              </a:ext>
            </a:extLst>
          </p:cNvPr>
          <p:cNvSpPr txBox="1"/>
          <p:nvPr/>
        </p:nvSpPr>
        <p:spPr>
          <a:xfrm>
            <a:off x="3412006" y="1518723"/>
            <a:ext cx="626016" cy="230832"/>
          </a:xfrm>
          <a:prstGeom prst="rect">
            <a:avLst/>
          </a:prstGeom>
          <a:noFill/>
        </p:spPr>
        <p:txBody>
          <a:bodyPr wrap="square" rtlCol="0">
            <a:spAutoFit/>
          </a:bodyPr>
          <a:lstStyle/>
          <a:p>
            <a:pPr algn="ctr"/>
            <a:r>
              <a:rPr lang="en-CA" sz="900"/>
              <a:t>$157.64</a:t>
            </a:r>
          </a:p>
        </p:txBody>
      </p:sp>
      <p:sp>
        <p:nvSpPr>
          <p:cNvPr id="14" name="TextBox 13">
            <a:extLst>
              <a:ext uri="{FF2B5EF4-FFF2-40B4-BE49-F238E27FC236}">
                <a16:creationId xmlns:a16="http://schemas.microsoft.com/office/drawing/2014/main" id="{66D81919-205A-AAEC-EAFB-E1F9AA3DBF74}"/>
              </a:ext>
            </a:extLst>
          </p:cNvPr>
          <p:cNvSpPr txBox="1"/>
          <p:nvPr/>
        </p:nvSpPr>
        <p:spPr>
          <a:xfrm>
            <a:off x="5879988" y="4501810"/>
            <a:ext cx="626016" cy="230832"/>
          </a:xfrm>
          <a:prstGeom prst="rect">
            <a:avLst/>
          </a:prstGeom>
          <a:noFill/>
        </p:spPr>
        <p:txBody>
          <a:bodyPr wrap="square" rtlCol="0">
            <a:spAutoFit/>
          </a:bodyPr>
          <a:lstStyle/>
          <a:p>
            <a:r>
              <a:rPr lang="en-CA" sz="900"/>
              <a:t>$141.88</a:t>
            </a:r>
          </a:p>
        </p:txBody>
      </p:sp>
      <p:sp>
        <p:nvSpPr>
          <p:cNvPr id="15" name="TextBox 14">
            <a:extLst>
              <a:ext uri="{FF2B5EF4-FFF2-40B4-BE49-F238E27FC236}">
                <a16:creationId xmlns:a16="http://schemas.microsoft.com/office/drawing/2014/main" id="{DA48D9AE-31B7-B757-6163-F4DADAD82953}"/>
              </a:ext>
            </a:extLst>
          </p:cNvPr>
          <p:cNvSpPr txBox="1"/>
          <p:nvPr/>
        </p:nvSpPr>
        <p:spPr>
          <a:xfrm>
            <a:off x="8242587" y="4479766"/>
            <a:ext cx="626016" cy="230832"/>
          </a:xfrm>
          <a:prstGeom prst="rect">
            <a:avLst/>
          </a:prstGeom>
          <a:noFill/>
        </p:spPr>
        <p:txBody>
          <a:bodyPr wrap="square" rtlCol="0">
            <a:spAutoFit/>
          </a:bodyPr>
          <a:lstStyle/>
          <a:p>
            <a:r>
              <a:rPr lang="en-CA" sz="900"/>
              <a:t>$175.13</a:t>
            </a:r>
          </a:p>
        </p:txBody>
      </p:sp>
      <p:graphicFrame>
        <p:nvGraphicFramePr>
          <p:cNvPr id="16" name="Table 15">
            <a:extLst>
              <a:ext uri="{FF2B5EF4-FFF2-40B4-BE49-F238E27FC236}">
                <a16:creationId xmlns:a16="http://schemas.microsoft.com/office/drawing/2014/main" id="{09EE7345-D722-C1D9-1BE0-52850FA91790}"/>
              </a:ext>
            </a:extLst>
          </p:cNvPr>
          <p:cNvGraphicFramePr>
            <a:graphicFrameLocks noGrp="1"/>
          </p:cNvGraphicFramePr>
          <p:nvPr>
            <p:extLst>
              <p:ext uri="{D42A27DB-BD31-4B8C-83A1-F6EECF244321}">
                <p14:modId xmlns:p14="http://schemas.microsoft.com/office/powerpoint/2010/main" val="1798816316"/>
              </p:ext>
            </p:extLst>
          </p:nvPr>
        </p:nvGraphicFramePr>
        <p:xfrm>
          <a:off x="250824" y="4006502"/>
          <a:ext cx="4162981" cy="2114896"/>
        </p:xfrm>
        <a:graphic>
          <a:graphicData uri="http://schemas.openxmlformats.org/drawingml/2006/table">
            <a:tbl>
              <a:tblPr/>
              <a:tblGrid>
                <a:gridCol w="2004697">
                  <a:extLst>
                    <a:ext uri="{9D8B030D-6E8A-4147-A177-3AD203B41FA5}">
                      <a16:colId xmlns:a16="http://schemas.microsoft.com/office/drawing/2014/main" val="1846784129"/>
                    </a:ext>
                  </a:extLst>
                </a:gridCol>
                <a:gridCol w="1491398">
                  <a:extLst>
                    <a:ext uri="{9D8B030D-6E8A-4147-A177-3AD203B41FA5}">
                      <a16:colId xmlns:a16="http://schemas.microsoft.com/office/drawing/2014/main" val="1103678463"/>
                    </a:ext>
                  </a:extLst>
                </a:gridCol>
                <a:gridCol w="666886">
                  <a:extLst>
                    <a:ext uri="{9D8B030D-6E8A-4147-A177-3AD203B41FA5}">
                      <a16:colId xmlns:a16="http://schemas.microsoft.com/office/drawing/2014/main" val="4023615858"/>
                    </a:ext>
                  </a:extLst>
                </a:gridCol>
              </a:tblGrid>
              <a:tr h="302128">
                <a:tc>
                  <a:txBody>
                    <a:bodyPr/>
                    <a:lstStyle/>
                    <a:p>
                      <a:pPr algn="l" fontAlgn="ctr"/>
                      <a:r>
                        <a:rPr lang="en-US" sz="1100" b="0" i="0" u="none" strike="noStrike">
                          <a:solidFill>
                            <a:srgbClr val="FFFFFF"/>
                          </a:solidFill>
                          <a:effectLst/>
                          <a:latin typeface="+mn-lt"/>
                        </a:rPr>
                        <a:t>Valuation</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gridSpan="2">
                  <a:txBody>
                    <a:bodyPr/>
                    <a:lstStyle/>
                    <a:p>
                      <a:pPr algn="l" fontAlgn="ctr"/>
                      <a:r>
                        <a:rPr lang="en-US" sz="1100" b="0" i="0" u="none" strike="noStrike">
                          <a:solidFill>
                            <a:srgbClr val="FFFFFF"/>
                          </a:solidFill>
                          <a:effectLst/>
                          <a:latin typeface="+mn-lt"/>
                        </a:rPr>
                        <a:t>Implied Change in Base Case</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endParaRPr lang="en-US"/>
                    </a:p>
                  </a:txBody>
                  <a:tcPr/>
                </a:tc>
                <a:extLst>
                  <a:ext uri="{0D108BD9-81ED-4DB2-BD59-A6C34878D82A}">
                    <a16:rowId xmlns:a16="http://schemas.microsoft.com/office/drawing/2014/main" val="1679455041"/>
                  </a:ext>
                </a:extLst>
              </a:tr>
              <a:tr h="302128">
                <a:tc>
                  <a:txBody>
                    <a:bodyPr/>
                    <a:lstStyle/>
                    <a:p>
                      <a:pPr algn="l" fontAlgn="b"/>
                      <a:r>
                        <a:rPr lang="en-US" sz="1100" b="0" i="0" u="none" strike="noStrike">
                          <a:solidFill>
                            <a:srgbClr val="000000"/>
                          </a:solidFill>
                          <a:effectLst/>
                          <a:latin typeface="+mn-lt"/>
                        </a:rPr>
                        <a:t>DCF TGR</a:t>
                      </a:r>
                    </a:p>
                  </a:txBody>
                  <a:tcPr marL="0" marR="0" marT="0"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100" b="0" i="0" u="none" strike="noStrike">
                          <a:solidFill>
                            <a:srgbClr val="000000"/>
                          </a:solidFill>
                          <a:effectLst/>
                          <a:latin typeface="+mn-lt"/>
                        </a:rPr>
                        <a:t>35%</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100" b="1" i="0" u="none" strike="noStrike">
                          <a:solidFill>
                            <a:srgbClr val="000000"/>
                          </a:solidFill>
                          <a:effectLst/>
                          <a:latin typeface="+mn-lt"/>
                        </a:rPr>
                        <a:t>33.35%</a:t>
                      </a:r>
                    </a:p>
                  </a:txBody>
                  <a:tcPr marL="0" marR="0" marT="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350541324"/>
                  </a:ext>
                </a:extLst>
              </a:tr>
              <a:tr h="302128">
                <a:tc>
                  <a:txBody>
                    <a:bodyPr/>
                    <a:lstStyle/>
                    <a:p>
                      <a:pPr algn="l" fontAlgn="b"/>
                      <a:r>
                        <a:rPr lang="en-US" sz="1100" b="0" i="0" u="none" strike="noStrike">
                          <a:solidFill>
                            <a:srgbClr val="000000"/>
                          </a:solidFill>
                          <a:effectLst/>
                          <a:latin typeface="+mn-lt"/>
                        </a:rPr>
                        <a:t>DCF Exit Multiple</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US" sz="1100" b="0" i="0" u="none" strike="noStrike">
                          <a:solidFill>
                            <a:srgbClr val="000000"/>
                          </a:solidFill>
                          <a:effectLst/>
                          <a:latin typeface="+mn-lt"/>
                        </a:rPr>
                        <a:t>35%</a:t>
                      </a:r>
                    </a:p>
                  </a:txBody>
                  <a:tcPr marL="0" marR="0" marT="0" marB="0" anchor="b">
                    <a:lnL>
                      <a:noFill/>
                    </a:lnL>
                    <a:lnR>
                      <a:noFill/>
                    </a:lnR>
                    <a:lnT>
                      <a:noFill/>
                    </a:lnT>
                    <a:lnB>
                      <a:noFill/>
                    </a:lnB>
                    <a:noFill/>
                  </a:tcPr>
                </a:tc>
                <a:tc>
                  <a:txBody>
                    <a:bodyPr/>
                    <a:lstStyle/>
                    <a:p>
                      <a:pPr algn="r" fontAlgn="b"/>
                      <a:r>
                        <a:rPr lang="en-US" sz="1100" b="1" i="0" u="none" strike="noStrike">
                          <a:solidFill>
                            <a:srgbClr val="000000"/>
                          </a:solidFill>
                          <a:effectLst/>
                          <a:latin typeface="+mn-lt"/>
                        </a:rPr>
                        <a:t>37.70%</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238156062"/>
                  </a:ext>
                </a:extLst>
              </a:tr>
              <a:tr h="302128">
                <a:tc>
                  <a:txBody>
                    <a:bodyPr/>
                    <a:lstStyle/>
                    <a:p>
                      <a:pPr algn="l" fontAlgn="b"/>
                      <a:r>
                        <a:rPr lang="en-US" sz="1100" b="0" i="0" u="none" strike="noStrike">
                          <a:solidFill>
                            <a:srgbClr val="000000"/>
                          </a:solidFill>
                          <a:effectLst/>
                          <a:latin typeface="+mn-lt"/>
                        </a:rPr>
                        <a:t>EV/Revenue</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US" sz="1100" b="0" i="0" u="none" strike="noStrike">
                          <a:solidFill>
                            <a:srgbClr val="000000"/>
                          </a:solidFill>
                          <a:effectLst/>
                          <a:latin typeface="+mn-lt"/>
                        </a:rPr>
                        <a:t>10%</a:t>
                      </a:r>
                    </a:p>
                  </a:txBody>
                  <a:tcPr marL="0" marR="0" marT="0" marB="0" anchor="b">
                    <a:lnL>
                      <a:noFill/>
                    </a:lnL>
                    <a:lnR>
                      <a:noFill/>
                    </a:lnR>
                    <a:lnT>
                      <a:noFill/>
                    </a:lnT>
                    <a:lnB>
                      <a:noFill/>
                    </a:lnB>
                    <a:noFill/>
                  </a:tcPr>
                </a:tc>
                <a:tc>
                  <a:txBody>
                    <a:bodyPr/>
                    <a:lstStyle/>
                    <a:p>
                      <a:pPr algn="r" fontAlgn="b"/>
                      <a:r>
                        <a:rPr lang="en-US" sz="1100" b="1" i="0" u="none" strike="noStrike">
                          <a:solidFill>
                            <a:srgbClr val="000000"/>
                          </a:solidFill>
                          <a:effectLst/>
                          <a:latin typeface="+mn-lt"/>
                        </a:rPr>
                        <a:t>48.99%</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444528158"/>
                  </a:ext>
                </a:extLst>
              </a:tr>
              <a:tr h="302128">
                <a:tc>
                  <a:txBody>
                    <a:bodyPr/>
                    <a:lstStyle/>
                    <a:p>
                      <a:pPr algn="l" fontAlgn="b"/>
                      <a:r>
                        <a:rPr lang="en-US" sz="1100" b="0" i="0" u="none" strike="noStrike">
                          <a:solidFill>
                            <a:srgbClr val="000000"/>
                          </a:solidFill>
                          <a:effectLst/>
                          <a:latin typeface="+mn-lt"/>
                        </a:rPr>
                        <a:t>EV/EBITDA</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US" sz="1100" b="0" i="0" u="none" strike="noStrike">
                          <a:solidFill>
                            <a:srgbClr val="000000"/>
                          </a:solidFill>
                          <a:effectLst/>
                          <a:latin typeface="+mn-lt"/>
                        </a:rPr>
                        <a:t>10%</a:t>
                      </a:r>
                    </a:p>
                  </a:txBody>
                  <a:tcPr marL="0" marR="0" marT="0" marB="0" anchor="b">
                    <a:lnL>
                      <a:noFill/>
                    </a:lnL>
                    <a:lnR>
                      <a:noFill/>
                    </a:lnR>
                    <a:lnT>
                      <a:noFill/>
                    </a:lnT>
                    <a:lnB>
                      <a:noFill/>
                    </a:lnB>
                    <a:noFill/>
                  </a:tcPr>
                </a:tc>
                <a:tc>
                  <a:txBody>
                    <a:bodyPr/>
                    <a:lstStyle/>
                    <a:p>
                      <a:pPr algn="r" fontAlgn="b"/>
                      <a:r>
                        <a:rPr lang="en-US" sz="1100" b="1" i="0" u="none" strike="noStrike">
                          <a:solidFill>
                            <a:srgbClr val="000000"/>
                          </a:solidFill>
                          <a:effectLst/>
                          <a:latin typeface="+mn-lt"/>
                        </a:rPr>
                        <a:t>(13.32%)</a:t>
                      </a:r>
                    </a:p>
                  </a:txBody>
                  <a:tcPr marL="0" marR="0" marT="0"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609182215"/>
                  </a:ext>
                </a:extLst>
              </a:tr>
              <a:tr h="302128">
                <a:tc>
                  <a:txBody>
                    <a:bodyPr/>
                    <a:lstStyle/>
                    <a:p>
                      <a:pPr algn="l" fontAlgn="b"/>
                      <a:r>
                        <a:rPr lang="en-US" sz="1100" b="0" i="0" u="none" strike="noStrike">
                          <a:solidFill>
                            <a:srgbClr val="000000"/>
                          </a:solidFill>
                          <a:effectLst/>
                          <a:latin typeface="+mn-lt"/>
                        </a:rPr>
                        <a:t>P/E</a:t>
                      </a:r>
                    </a:p>
                  </a:txBody>
                  <a:tcPr marL="0" marR="0" marT="0"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10%</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US" sz="1100" b="1" i="0" u="none" strike="noStrike">
                          <a:solidFill>
                            <a:srgbClr val="000000"/>
                          </a:solidFill>
                          <a:effectLst/>
                          <a:latin typeface="+mn-lt"/>
                        </a:rPr>
                        <a:t>(0.62%)</a:t>
                      </a:r>
                    </a:p>
                  </a:txBody>
                  <a:tcPr marL="0" marR="0" marT="0"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241033"/>
                  </a:ext>
                </a:extLst>
              </a:tr>
              <a:tr h="302128">
                <a:tc>
                  <a:txBody>
                    <a:bodyPr/>
                    <a:lstStyle/>
                    <a:p>
                      <a:pPr algn="l" fontAlgn="b"/>
                      <a:r>
                        <a:rPr lang="en-US" sz="1100" b="0" i="0" u="none" strike="noStrike">
                          <a:solidFill>
                            <a:srgbClr val="000000"/>
                          </a:solidFill>
                          <a:effectLst/>
                          <a:latin typeface="+mn-lt"/>
                        </a:rPr>
                        <a:t>Implied Upside</a:t>
                      </a:r>
                    </a:p>
                  </a:txBody>
                  <a:tcPr marL="0" marR="0" marT="0"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mn-lt"/>
                        </a:rPr>
                        <a:t> </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fontAlgn="b"/>
                      <a:r>
                        <a:rPr lang="en-US" sz="1100" b="1" i="0" u="none" strike="noStrike">
                          <a:solidFill>
                            <a:srgbClr val="000000"/>
                          </a:solidFill>
                          <a:effectLst/>
                          <a:latin typeface="+mn-lt"/>
                        </a:rPr>
                        <a:t>28.37%</a:t>
                      </a:r>
                    </a:p>
                  </a:txBody>
                  <a:tcPr marL="0" marR="0" marT="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5234653"/>
                  </a:ext>
                </a:extLst>
              </a:tr>
            </a:tbl>
          </a:graphicData>
        </a:graphic>
      </p:graphicFrame>
    </p:spTree>
    <p:extLst>
      <p:ext uri="{BB962C8B-B14F-4D97-AF65-F5344CB8AC3E}">
        <p14:creationId xmlns:p14="http://schemas.microsoft.com/office/powerpoint/2010/main" val="1118938913"/>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25A1B-955D-CFD0-433C-0663C1415AB5}"/>
              </a:ext>
            </a:extLst>
          </p:cNvPr>
          <p:cNvSpPr>
            <a:spLocks noGrp="1"/>
          </p:cNvSpPr>
          <p:nvPr>
            <p:ph type="title"/>
          </p:nvPr>
        </p:nvSpPr>
        <p:spPr/>
        <p:txBody>
          <a:bodyPr/>
          <a:lstStyle/>
          <a:p>
            <a:r>
              <a:rPr lang="en-CA"/>
              <a:t>Appendix I</a:t>
            </a:r>
          </a:p>
        </p:txBody>
      </p:sp>
      <p:sp>
        <p:nvSpPr>
          <p:cNvPr id="3" name="Text Placeholder 2">
            <a:extLst>
              <a:ext uri="{FF2B5EF4-FFF2-40B4-BE49-F238E27FC236}">
                <a16:creationId xmlns:a16="http://schemas.microsoft.com/office/drawing/2014/main" id="{742DA4C8-3789-9AB5-86BF-8CC8C234405E}"/>
              </a:ext>
            </a:extLst>
          </p:cNvPr>
          <p:cNvSpPr>
            <a:spLocks noGrp="1"/>
          </p:cNvSpPr>
          <p:nvPr>
            <p:ph type="body" sz="quarter" idx="18"/>
          </p:nvPr>
        </p:nvSpPr>
        <p:spPr/>
        <p:txBody>
          <a:bodyPr/>
          <a:lstStyle/>
          <a:p>
            <a:r>
              <a:rPr lang="en-CA"/>
              <a:t>Model Outputs</a:t>
            </a:r>
          </a:p>
        </p:txBody>
      </p:sp>
      <p:sp>
        <p:nvSpPr>
          <p:cNvPr id="6" name="Text Placeholder 5">
            <a:extLst>
              <a:ext uri="{FF2B5EF4-FFF2-40B4-BE49-F238E27FC236}">
                <a16:creationId xmlns:a16="http://schemas.microsoft.com/office/drawing/2014/main" id="{0CCF76D0-3BA7-E0FF-E90C-E5403D0B4C22}"/>
              </a:ext>
            </a:extLst>
          </p:cNvPr>
          <p:cNvSpPr>
            <a:spLocks noGrp="1"/>
          </p:cNvSpPr>
          <p:nvPr>
            <p:ph type="body" sz="quarter" idx="19"/>
          </p:nvPr>
        </p:nvSpPr>
        <p:spPr/>
        <p:txBody>
          <a:bodyPr/>
          <a:lstStyle/>
          <a:p>
            <a:endParaRPr lang="en-CA"/>
          </a:p>
        </p:txBody>
      </p:sp>
    </p:spTree>
    <p:extLst>
      <p:ext uri="{BB962C8B-B14F-4D97-AF65-F5344CB8AC3E}">
        <p14:creationId xmlns:p14="http://schemas.microsoft.com/office/powerpoint/2010/main" val="15994674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D12F8-F70C-3FA4-067C-20A4D676C907}"/>
            </a:ext>
          </a:extLst>
        </p:cNvPr>
        <p:cNvGrpSpPr/>
        <p:nvPr/>
      </p:nvGrpSpPr>
      <p:grpSpPr>
        <a:xfrm>
          <a:off x="0" y="0"/>
          <a:ext cx="0" cy="0"/>
          <a:chOff x="0" y="0"/>
          <a:chExt cx="0" cy="0"/>
        </a:xfrm>
      </p:grpSpPr>
      <p:sp>
        <p:nvSpPr>
          <p:cNvPr id="10" name="Text Placeholder 9">
            <a:extLst>
              <a:ext uri="{FF2B5EF4-FFF2-40B4-BE49-F238E27FC236}">
                <a16:creationId xmlns:a16="http://schemas.microsoft.com/office/drawing/2014/main" id="{49B718F1-17DF-6C21-24F5-15BA46487091}"/>
              </a:ext>
            </a:extLst>
          </p:cNvPr>
          <p:cNvSpPr>
            <a:spLocks noGrp="1"/>
          </p:cNvSpPr>
          <p:nvPr>
            <p:ph type="body" sz="quarter" idx="21"/>
          </p:nvPr>
        </p:nvSpPr>
        <p:spPr/>
        <p:txBody>
          <a:bodyPr/>
          <a:lstStyle/>
          <a:p>
            <a:r>
              <a:rPr lang="en-CA"/>
              <a:t>Assumptions</a:t>
            </a:r>
          </a:p>
        </p:txBody>
      </p:sp>
      <p:sp>
        <p:nvSpPr>
          <p:cNvPr id="7" name="Title 6">
            <a:extLst>
              <a:ext uri="{FF2B5EF4-FFF2-40B4-BE49-F238E27FC236}">
                <a16:creationId xmlns:a16="http://schemas.microsoft.com/office/drawing/2014/main" id="{21FAC5C6-17AC-5CC2-113B-B1B6664EE2F7}"/>
              </a:ext>
            </a:extLst>
          </p:cNvPr>
          <p:cNvSpPr>
            <a:spLocks noGrp="1"/>
          </p:cNvSpPr>
          <p:nvPr>
            <p:ph type="title"/>
          </p:nvPr>
        </p:nvSpPr>
        <p:spPr/>
        <p:txBody>
          <a:bodyPr/>
          <a:lstStyle/>
          <a:p>
            <a:r>
              <a:rPr lang="en-CA"/>
              <a:t>Discounted Cash Flow Analysis</a:t>
            </a:r>
          </a:p>
        </p:txBody>
      </p:sp>
      <p:sp>
        <p:nvSpPr>
          <p:cNvPr id="8" name="Text Placeholder 7">
            <a:extLst>
              <a:ext uri="{FF2B5EF4-FFF2-40B4-BE49-F238E27FC236}">
                <a16:creationId xmlns:a16="http://schemas.microsoft.com/office/drawing/2014/main" id="{AD84ADB2-5088-9355-E1C9-ACC6D44A7CD5}"/>
              </a:ext>
            </a:extLst>
          </p:cNvPr>
          <p:cNvSpPr>
            <a:spLocks noGrp="1"/>
          </p:cNvSpPr>
          <p:nvPr>
            <p:ph type="body" sz="quarter" idx="13"/>
          </p:nvPr>
        </p:nvSpPr>
        <p:spPr/>
        <p:txBody>
          <a:bodyPr/>
          <a:lstStyle/>
          <a:p>
            <a:r>
              <a:rPr lang="en-US"/>
              <a:t>Source(s): Bloomberg, Capital IQ, </a:t>
            </a:r>
            <a:r>
              <a:rPr lang="en-US" err="1"/>
              <a:t>Addus</a:t>
            </a:r>
            <a:r>
              <a:rPr lang="en-US"/>
              <a:t> 10-k</a:t>
            </a:r>
            <a:endParaRPr lang="en-CA"/>
          </a:p>
        </p:txBody>
      </p:sp>
      <p:graphicFrame>
        <p:nvGraphicFramePr>
          <p:cNvPr id="9" name="Table 8">
            <a:extLst>
              <a:ext uri="{FF2B5EF4-FFF2-40B4-BE49-F238E27FC236}">
                <a16:creationId xmlns:a16="http://schemas.microsoft.com/office/drawing/2014/main" id="{D9581ED3-B3FC-AEAC-66ED-B2DEFB672A9E}"/>
              </a:ext>
            </a:extLst>
          </p:cNvPr>
          <p:cNvGraphicFramePr>
            <a:graphicFrameLocks noGrp="1"/>
          </p:cNvGraphicFramePr>
          <p:nvPr>
            <p:extLst>
              <p:ext uri="{D42A27DB-BD31-4B8C-83A1-F6EECF244321}">
                <p14:modId xmlns:p14="http://schemas.microsoft.com/office/powerpoint/2010/main" val="2040341531"/>
              </p:ext>
            </p:extLst>
          </p:nvPr>
        </p:nvGraphicFramePr>
        <p:xfrm>
          <a:off x="188913" y="1006479"/>
          <a:ext cx="8704263" cy="5211438"/>
        </p:xfrm>
        <a:graphic>
          <a:graphicData uri="http://schemas.openxmlformats.org/drawingml/2006/table">
            <a:tbl>
              <a:tblPr/>
              <a:tblGrid>
                <a:gridCol w="351799">
                  <a:extLst>
                    <a:ext uri="{9D8B030D-6E8A-4147-A177-3AD203B41FA5}">
                      <a16:colId xmlns:a16="http://schemas.microsoft.com/office/drawing/2014/main" val="2792435519"/>
                    </a:ext>
                  </a:extLst>
                </a:gridCol>
                <a:gridCol w="349679">
                  <a:extLst>
                    <a:ext uri="{9D8B030D-6E8A-4147-A177-3AD203B41FA5}">
                      <a16:colId xmlns:a16="http://schemas.microsoft.com/office/drawing/2014/main" val="4162213099"/>
                    </a:ext>
                  </a:extLst>
                </a:gridCol>
                <a:gridCol w="522305">
                  <a:extLst>
                    <a:ext uri="{9D8B030D-6E8A-4147-A177-3AD203B41FA5}">
                      <a16:colId xmlns:a16="http://schemas.microsoft.com/office/drawing/2014/main" val="3823351361"/>
                    </a:ext>
                  </a:extLst>
                </a:gridCol>
                <a:gridCol w="522305">
                  <a:extLst>
                    <a:ext uri="{9D8B030D-6E8A-4147-A177-3AD203B41FA5}">
                      <a16:colId xmlns:a16="http://schemas.microsoft.com/office/drawing/2014/main" val="214339402"/>
                    </a:ext>
                  </a:extLst>
                </a:gridCol>
                <a:gridCol w="522305">
                  <a:extLst>
                    <a:ext uri="{9D8B030D-6E8A-4147-A177-3AD203B41FA5}">
                      <a16:colId xmlns:a16="http://schemas.microsoft.com/office/drawing/2014/main" val="2586160306"/>
                    </a:ext>
                  </a:extLst>
                </a:gridCol>
                <a:gridCol w="522305">
                  <a:extLst>
                    <a:ext uri="{9D8B030D-6E8A-4147-A177-3AD203B41FA5}">
                      <a16:colId xmlns:a16="http://schemas.microsoft.com/office/drawing/2014/main" val="1357406382"/>
                    </a:ext>
                  </a:extLst>
                </a:gridCol>
                <a:gridCol w="522305">
                  <a:extLst>
                    <a:ext uri="{9D8B030D-6E8A-4147-A177-3AD203B41FA5}">
                      <a16:colId xmlns:a16="http://schemas.microsoft.com/office/drawing/2014/main" val="105728745"/>
                    </a:ext>
                  </a:extLst>
                </a:gridCol>
                <a:gridCol w="522305">
                  <a:extLst>
                    <a:ext uri="{9D8B030D-6E8A-4147-A177-3AD203B41FA5}">
                      <a16:colId xmlns:a16="http://schemas.microsoft.com/office/drawing/2014/main" val="633958547"/>
                    </a:ext>
                  </a:extLst>
                </a:gridCol>
                <a:gridCol w="522305">
                  <a:extLst>
                    <a:ext uri="{9D8B030D-6E8A-4147-A177-3AD203B41FA5}">
                      <a16:colId xmlns:a16="http://schemas.microsoft.com/office/drawing/2014/main" val="1633260785"/>
                    </a:ext>
                  </a:extLst>
                </a:gridCol>
                <a:gridCol w="522305">
                  <a:extLst>
                    <a:ext uri="{9D8B030D-6E8A-4147-A177-3AD203B41FA5}">
                      <a16:colId xmlns:a16="http://schemas.microsoft.com/office/drawing/2014/main" val="2088175770"/>
                    </a:ext>
                  </a:extLst>
                </a:gridCol>
                <a:gridCol w="522305">
                  <a:extLst>
                    <a:ext uri="{9D8B030D-6E8A-4147-A177-3AD203B41FA5}">
                      <a16:colId xmlns:a16="http://schemas.microsoft.com/office/drawing/2014/main" val="1360980059"/>
                    </a:ext>
                  </a:extLst>
                </a:gridCol>
                <a:gridCol w="522305">
                  <a:extLst>
                    <a:ext uri="{9D8B030D-6E8A-4147-A177-3AD203B41FA5}">
                      <a16:colId xmlns:a16="http://schemas.microsoft.com/office/drawing/2014/main" val="1179006696"/>
                    </a:ext>
                  </a:extLst>
                </a:gridCol>
                <a:gridCol w="522305">
                  <a:extLst>
                    <a:ext uri="{9D8B030D-6E8A-4147-A177-3AD203B41FA5}">
                      <a16:colId xmlns:a16="http://schemas.microsoft.com/office/drawing/2014/main" val="1744981717"/>
                    </a:ext>
                  </a:extLst>
                </a:gridCol>
                <a:gridCol w="451486">
                  <a:extLst>
                    <a:ext uri="{9D8B030D-6E8A-4147-A177-3AD203B41FA5}">
                      <a16:colId xmlns:a16="http://schemas.microsoft.com/office/drawing/2014/main" val="453719398"/>
                    </a:ext>
                  </a:extLst>
                </a:gridCol>
                <a:gridCol w="451486">
                  <a:extLst>
                    <a:ext uri="{9D8B030D-6E8A-4147-A177-3AD203B41FA5}">
                      <a16:colId xmlns:a16="http://schemas.microsoft.com/office/drawing/2014/main" val="910318618"/>
                    </a:ext>
                  </a:extLst>
                </a:gridCol>
                <a:gridCol w="451486">
                  <a:extLst>
                    <a:ext uri="{9D8B030D-6E8A-4147-A177-3AD203B41FA5}">
                      <a16:colId xmlns:a16="http://schemas.microsoft.com/office/drawing/2014/main" val="3217015199"/>
                    </a:ext>
                  </a:extLst>
                </a:gridCol>
                <a:gridCol w="451486">
                  <a:extLst>
                    <a:ext uri="{9D8B030D-6E8A-4147-A177-3AD203B41FA5}">
                      <a16:colId xmlns:a16="http://schemas.microsoft.com/office/drawing/2014/main" val="68261409"/>
                    </a:ext>
                  </a:extLst>
                </a:gridCol>
                <a:gridCol w="451486">
                  <a:extLst>
                    <a:ext uri="{9D8B030D-6E8A-4147-A177-3AD203B41FA5}">
                      <a16:colId xmlns:a16="http://schemas.microsoft.com/office/drawing/2014/main" val="1017075626"/>
                    </a:ext>
                  </a:extLst>
                </a:gridCol>
              </a:tblGrid>
              <a:tr h="119935">
                <a:tc gridSpan="2">
                  <a:txBody>
                    <a:bodyPr/>
                    <a:lstStyle/>
                    <a:p>
                      <a:pPr algn="l" fontAlgn="ctr"/>
                      <a:r>
                        <a:rPr lang="en-CA" sz="600" b="1" i="0" u="none" strike="noStrike">
                          <a:solidFill>
                            <a:srgbClr val="FFFFFF"/>
                          </a:solidFill>
                          <a:effectLst/>
                          <a:latin typeface="Arial" panose="020B0604020202020204" pitchFamily="34" charset="0"/>
                        </a:rPr>
                        <a:t>Assumptions</a:t>
                      </a:r>
                    </a:p>
                  </a:txBody>
                  <a:tcPr marL="3858" marR="3858" marT="3858"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endParaRPr lang="en-CA"/>
                    </a:p>
                  </a:txBody>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000000"/>
                          </a:solidFill>
                          <a:effectLst/>
                          <a:latin typeface="Arial" panose="020B0604020202020204" pitchFamily="34" charset="0"/>
                        </a:rPr>
                        <a:t> </a:t>
                      </a:r>
                    </a:p>
                  </a:txBody>
                  <a:tcPr marL="3858" marR="3858" marT="3858"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8" marR="3858" marT="3858" marB="0" anchor="b">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8" marR="3858" marT="3858" marB="0" anchor="b">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8" marR="3858" marT="3858" marB="0" anchor="b">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8" marR="3858" marT="3858" marB="0" anchor="b">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8" marR="3858" marT="3858"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F3557"/>
                    </a:solidFill>
                  </a:tcPr>
                </a:tc>
                <a:extLst>
                  <a:ext uri="{0D108BD9-81ED-4DB2-BD59-A6C34878D82A}">
                    <a16:rowId xmlns:a16="http://schemas.microsoft.com/office/drawing/2014/main" val="2224318650"/>
                  </a:ext>
                </a:extLst>
              </a:tr>
              <a:tr h="119935">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019H</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2020H</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2021H</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2022H</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2023H</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rgbClr val="FFFFFF"/>
                          </a:solidFill>
                          <a:effectLst/>
                          <a:latin typeface="Arial" panose="020B0604020202020204" pitchFamily="34" charset="0"/>
                        </a:rPr>
                        <a:t>2024F</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r" fontAlgn="b"/>
                      <a:r>
                        <a:rPr lang="en-CA" sz="600" b="1" i="0" u="none" strike="noStrike">
                          <a:solidFill>
                            <a:srgbClr val="FFFFFF"/>
                          </a:solidFill>
                          <a:effectLst/>
                          <a:latin typeface="Arial" panose="020B0604020202020204" pitchFamily="34" charset="0"/>
                        </a:rPr>
                        <a:t>2025F</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r" fontAlgn="b"/>
                      <a:r>
                        <a:rPr lang="en-CA" sz="600" b="1" i="0" u="none" strike="noStrike">
                          <a:solidFill>
                            <a:srgbClr val="FFFFFF"/>
                          </a:solidFill>
                          <a:effectLst/>
                          <a:latin typeface="Arial" panose="020B0604020202020204" pitchFamily="34" charset="0"/>
                        </a:rPr>
                        <a:t>2026F</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r" fontAlgn="b"/>
                      <a:r>
                        <a:rPr lang="en-CA" sz="600" b="1" i="0" u="none" strike="noStrike">
                          <a:solidFill>
                            <a:srgbClr val="FFFFFF"/>
                          </a:solidFill>
                          <a:effectLst/>
                          <a:latin typeface="Arial" panose="020B0604020202020204" pitchFamily="34" charset="0"/>
                        </a:rPr>
                        <a:t>2027F</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r" fontAlgn="b"/>
                      <a:r>
                        <a:rPr lang="en-CA" sz="600" b="1" i="0" u="none" strike="noStrike">
                          <a:solidFill>
                            <a:srgbClr val="FFFFFF"/>
                          </a:solidFill>
                          <a:effectLst/>
                          <a:latin typeface="Arial" panose="020B0604020202020204" pitchFamily="34" charset="0"/>
                        </a:rPr>
                        <a:t>2028F</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r" fontAlgn="b"/>
                      <a:r>
                        <a:rPr lang="en-CA" sz="600" b="1" i="0" u="none" strike="noStrike">
                          <a:solidFill>
                            <a:srgbClr val="FFFFFF"/>
                          </a:solidFill>
                          <a:effectLst/>
                          <a:latin typeface="Arial" panose="020B0604020202020204" pitchFamily="34" charset="0"/>
                        </a:rPr>
                        <a:t>2029F</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r" fontAlgn="b"/>
                      <a:r>
                        <a:rPr lang="en-CA" sz="600" b="1" i="0" u="none" strike="noStrike">
                          <a:solidFill>
                            <a:srgbClr val="FFFFFF"/>
                          </a:solidFill>
                          <a:effectLst/>
                          <a:latin typeface="Arial" panose="020B0604020202020204" pitchFamily="34" charset="0"/>
                        </a:rPr>
                        <a:t>2030F</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r" fontAlgn="b"/>
                      <a:r>
                        <a:rPr lang="en-CA" sz="600" b="1" i="0" u="none" strike="noStrike">
                          <a:solidFill>
                            <a:srgbClr val="FFFFFF"/>
                          </a:solidFill>
                          <a:effectLst/>
                          <a:latin typeface="Arial" panose="020B0604020202020204" pitchFamily="34" charset="0"/>
                        </a:rPr>
                        <a:t>2031F</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r" fontAlgn="b"/>
                      <a:r>
                        <a:rPr lang="en-CA" sz="600" b="1" i="0" u="none" strike="noStrike">
                          <a:solidFill>
                            <a:srgbClr val="FFFFFF"/>
                          </a:solidFill>
                          <a:effectLst/>
                          <a:latin typeface="Arial" panose="020B0604020202020204" pitchFamily="34" charset="0"/>
                        </a:rPr>
                        <a:t>2032F</a:t>
                      </a:r>
                    </a:p>
                  </a:txBody>
                  <a:tcPr marL="3858" marR="3858" marT="3858" marB="0" anchor="b">
                    <a:lnL>
                      <a:noFill/>
                    </a:lnL>
                    <a:lnR>
                      <a:noFill/>
                    </a:lnR>
                    <a:lnT>
                      <a:noFill/>
                    </a:lnT>
                    <a:lnB w="6350" cap="flat" cmpd="sng" algn="ctr">
                      <a:solidFill>
                        <a:srgbClr val="000000"/>
                      </a:solidFill>
                      <a:prstDash val="solid"/>
                      <a:round/>
                      <a:headEnd type="none" w="med" len="med"/>
                      <a:tailEnd type="none" w="med" len="med"/>
                    </a:lnB>
                    <a:solidFill>
                      <a:srgbClr val="0F3557"/>
                    </a:solidFill>
                  </a:tcPr>
                </a:tc>
                <a:tc>
                  <a:txBody>
                    <a:bodyPr/>
                    <a:lstStyle/>
                    <a:p>
                      <a:pPr algn="r" fontAlgn="b"/>
                      <a:r>
                        <a:rPr lang="en-CA" sz="600" b="1" i="0" u="none" strike="noStrike">
                          <a:solidFill>
                            <a:srgbClr val="FFFFFF"/>
                          </a:solidFill>
                          <a:effectLst/>
                          <a:latin typeface="Arial" panose="020B0604020202020204" pitchFamily="34" charset="0"/>
                        </a:rPr>
                        <a:t>2033F</a:t>
                      </a:r>
                    </a:p>
                  </a:txBody>
                  <a:tcPr marL="3858" marR="3858" marT="3858"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F3557"/>
                    </a:solidFill>
                  </a:tcPr>
                </a:tc>
                <a:extLst>
                  <a:ext uri="{0D108BD9-81ED-4DB2-BD59-A6C34878D82A}">
                    <a16:rowId xmlns:a16="http://schemas.microsoft.com/office/drawing/2014/main" val="2848604438"/>
                  </a:ext>
                </a:extLst>
              </a:tr>
              <a:tr h="119935">
                <a:tc>
                  <a:txBody>
                    <a:bodyPr/>
                    <a:lstStyle/>
                    <a:p>
                      <a:pPr algn="l" fontAlgn="b"/>
                      <a:r>
                        <a:rPr lang="en-CA" sz="600" b="1" i="0" u="none" strike="noStrike">
                          <a:solidFill>
                            <a:srgbClr val="000000"/>
                          </a:solidFill>
                          <a:effectLst/>
                          <a:latin typeface="Arial" panose="020B0604020202020204" pitchFamily="34" charset="0"/>
                        </a:rPr>
                        <a:t>Revenu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48.8</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764.8</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864.5</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951.1</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058.7</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164.6</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304.3</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421.7</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535.4</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650.6</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733.1</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802.5</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865.5</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921.5</a:t>
                      </a:r>
                    </a:p>
                  </a:txBody>
                  <a:tcPr marL="3858" marR="3858" marT="385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969.5</a:t>
                      </a:r>
                    </a:p>
                  </a:txBody>
                  <a:tcPr marL="3858" marR="3858" marT="3858"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441378878"/>
                  </a:ext>
                </a:extLst>
              </a:tr>
              <a:tr h="230484">
                <a:tc gridSpan="2">
                  <a:txBody>
                    <a:bodyPr/>
                    <a:lstStyle/>
                    <a:p>
                      <a:pPr algn="l" fontAlgn="b"/>
                      <a:r>
                        <a:rPr lang="en-CA" sz="600" b="0" i="0" u="none" strike="noStrike">
                          <a:solidFill>
                            <a:srgbClr val="000000"/>
                          </a:solidFill>
                          <a:effectLst/>
                          <a:latin typeface="Arial" panose="020B0604020202020204" pitchFamily="34" charset="0"/>
                        </a:rPr>
                        <a:t>   Revenue growth (%)</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8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04%</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02%</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3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5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5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50%</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491256059"/>
                  </a:ext>
                </a:extLst>
              </a:tr>
              <a:tr h="119935">
                <a:tc>
                  <a:txBody>
                    <a:bodyPr/>
                    <a:lstStyle/>
                    <a:p>
                      <a:pPr algn="l" fontAlgn="b"/>
                      <a:r>
                        <a:rPr lang="en-CA" sz="600" b="0" i="0" u="none" strike="noStrike">
                          <a:solidFill>
                            <a:srgbClr val="000000"/>
                          </a:solidFill>
                          <a:effectLst/>
                          <a:latin typeface="Arial" panose="020B0604020202020204" pitchFamily="34" charset="0"/>
                        </a:rPr>
                        <a:t>Bas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9.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8.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7.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5.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4.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3.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3.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50%</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478664722"/>
                  </a:ext>
                </a:extLst>
              </a:tr>
              <a:tr h="119935">
                <a:tc>
                  <a:txBody>
                    <a:bodyPr/>
                    <a:lstStyle/>
                    <a:p>
                      <a:pPr algn="l" fontAlgn="b"/>
                      <a:r>
                        <a:rPr lang="en-CA" sz="600" b="0" i="0" u="none" strike="noStrike">
                          <a:solidFill>
                            <a:srgbClr val="000000"/>
                          </a:solidFill>
                          <a:effectLst/>
                          <a:latin typeface="Arial" panose="020B0604020202020204" pitchFamily="34" charset="0"/>
                        </a:rPr>
                        <a:t>Bull</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0%</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3.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0.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9.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8.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5.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4.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4.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3.50%</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559340157"/>
                  </a:ext>
                </a:extLst>
              </a:tr>
              <a:tr h="119935">
                <a:tc>
                  <a:txBody>
                    <a:bodyPr/>
                    <a:lstStyle/>
                    <a:p>
                      <a:pPr algn="l" fontAlgn="b"/>
                      <a:r>
                        <a:rPr lang="en-CA" sz="600" b="0" i="0" u="none" strike="noStrike">
                          <a:solidFill>
                            <a:srgbClr val="000000"/>
                          </a:solidFill>
                          <a:effectLst/>
                          <a:latin typeface="Arial" panose="020B0604020202020204" pitchFamily="34" charset="0"/>
                        </a:rPr>
                        <a:t>Bear</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0%</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1.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8.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7.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4.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3.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334900114"/>
                  </a:ext>
                </a:extLst>
              </a:tr>
              <a:tr h="119935">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781058902"/>
                  </a:ext>
                </a:extLst>
              </a:tr>
              <a:tr h="230484">
                <a:tc gridSpan="2">
                  <a:txBody>
                    <a:bodyPr/>
                    <a:lstStyle/>
                    <a:p>
                      <a:pPr algn="l" fontAlgn="b"/>
                      <a:r>
                        <a:rPr lang="en-CA" sz="600" b="1" i="0" u="none" strike="noStrike">
                          <a:solidFill>
                            <a:srgbClr val="000000"/>
                          </a:solidFill>
                          <a:effectLst/>
                          <a:latin typeface="Arial" panose="020B0604020202020204" pitchFamily="34" charset="0"/>
                        </a:rPr>
                        <a:t>Cost of Goods Sold</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69.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37.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95.2</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46.7</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15.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86.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80.4</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56.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32.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05.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61.2</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07.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49.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87.4</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19.6</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359979149"/>
                  </a:ext>
                </a:extLst>
              </a:tr>
              <a:tr h="230484">
                <a:tc gridSpan="2">
                  <a:txBody>
                    <a:bodyPr/>
                    <a:lstStyle/>
                    <a:p>
                      <a:pPr algn="l" fontAlgn="b"/>
                      <a:r>
                        <a:rPr lang="en-CA" sz="600" b="0" i="0" u="none" strike="noStrike">
                          <a:solidFill>
                            <a:srgbClr val="000000"/>
                          </a:solidFill>
                          <a:effectLst/>
                          <a:latin typeface="Arial" panose="020B0604020202020204" pitchFamily="34" charset="0"/>
                        </a:rPr>
                        <a:t>   COGS as % of revenu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2.3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0.2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8.8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9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62%</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5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5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781298841"/>
                  </a:ext>
                </a:extLst>
              </a:tr>
              <a:tr h="119935">
                <a:tc>
                  <a:txBody>
                    <a:bodyPr/>
                    <a:lstStyle/>
                    <a:p>
                      <a:pPr algn="l" fontAlgn="b"/>
                      <a:r>
                        <a:rPr lang="en-CA" sz="600" b="0" i="0" u="none" strike="noStrike">
                          <a:solidFill>
                            <a:srgbClr val="000000"/>
                          </a:solidFill>
                          <a:effectLst/>
                          <a:latin typeface="Arial" panose="020B0604020202020204" pitchFamily="34" charset="0"/>
                        </a:rPr>
                        <a:t>Bas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4151322996"/>
                  </a:ext>
                </a:extLst>
              </a:tr>
              <a:tr h="119935">
                <a:tc>
                  <a:txBody>
                    <a:bodyPr/>
                    <a:lstStyle/>
                    <a:p>
                      <a:pPr algn="l" fontAlgn="b"/>
                      <a:r>
                        <a:rPr lang="en-CA" sz="600" b="0" i="0" u="none" strike="noStrike">
                          <a:solidFill>
                            <a:srgbClr val="000000"/>
                          </a:solidFill>
                          <a:effectLst/>
                          <a:latin typeface="Arial" panose="020B0604020202020204" pitchFamily="34" charset="0"/>
                        </a:rPr>
                        <a:t>Bull</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25%</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6.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6.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6.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6.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6.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6.75%</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809748815"/>
                  </a:ext>
                </a:extLst>
              </a:tr>
              <a:tr h="119935">
                <a:tc>
                  <a:txBody>
                    <a:bodyPr/>
                    <a:lstStyle/>
                    <a:p>
                      <a:pPr algn="l" fontAlgn="b"/>
                      <a:r>
                        <a:rPr lang="en-CA" sz="600" b="0" i="0" u="none" strike="noStrike">
                          <a:solidFill>
                            <a:srgbClr val="000000"/>
                          </a:solidFill>
                          <a:effectLst/>
                          <a:latin typeface="Arial" panose="020B0604020202020204" pitchFamily="34" charset="0"/>
                        </a:rPr>
                        <a:t>Bear</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25%</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075971869"/>
                  </a:ext>
                </a:extLst>
              </a:tr>
              <a:tr h="119935">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847451766"/>
                  </a:ext>
                </a:extLst>
              </a:tr>
              <a:tr h="230484">
                <a:tc gridSpan="3">
                  <a:txBody>
                    <a:bodyPr/>
                    <a:lstStyle/>
                    <a:p>
                      <a:pPr algn="l" fontAlgn="b"/>
                      <a:r>
                        <a:rPr lang="en-CA" sz="600" b="1" i="0" u="none" strike="noStrike">
                          <a:solidFill>
                            <a:srgbClr val="000000"/>
                          </a:solidFill>
                          <a:effectLst/>
                          <a:latin typeface="Arial" panose="020B0604020202020204" pitchFamily="34" charset="0"/>
                        </a:rPr>
                        <a:t>Selling General &amp; Admin Expenses</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endParaRPr lang="en-CA"/>
                    </a:p>
                  </a:txBody>
                  <a:tcPr/>
                </a:tc>
                <a:tc>
                  <a:txBody>
                    <a:bodyPr/>
                    <a:lstStyle/>
                    <a:p>
                      <a:pPr algn="r" fontAlgn="b"/>
                      <a:r>
                        <a:rPr lang="en-CA" sz="600" b="0" i="0" u="none" strike="noStrike">
                          <a:solidFill>
                            <a:srgbClr val="000000"/>
                          </a:solidFill>
                          <a:effectLst/>
                          <a:latin typeface="Arial" panose="020B0604020202020204" pitchFamily="34" charset="0"/>
                        </a:rPr>
                        <a:t>130.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8.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88.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0.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31.7</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51.4</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85.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10.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6.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60.2</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78.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94.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07.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19.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30.1</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217326430"/>
                  </a:ext>
                </a:extLst>
              </a:tr>
              <a:tr h="230484">
                <a:tc gridSpan="2">
                  <a:txBody>
                    <a:bodyPr/>
                    <a:lstStyle/>
                    <a:p>
                      <a:pPr algn="l" fontAlgn="b"/>
                      <a:r>
                        <a:rPr lang="en-US" sz="600" b="0" i="0" u="none" strike="noStrike">
                          <a:solidFill>
                            <a:srgbClr val="000000"/>
                          </a:solidFill>
                          <a:effectLst/>
                          <a:latin typeface="Arial" panose="020B0604020202020204" pitchFamily="34" charset="0"/>
                        </a:rPr>
                        <a:t>   SG&amp;A as % of revenu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0.0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2.0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2.17%</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5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9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7%</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4%</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702716349"/>
                  </a:ext>
                </a:extLst>
              </a:tr>
              <a:tr h="119935">
                <a:tc>
                  <a:txBody>
                    <a:bodyPr/>
                    <a:lstStyle/>
                    <a:p>
                      <a:pPr algn="l" fontAlgn="b"/>
                      <a:r>
                        <a:rPr lang="en-CA" sz="600" b="0" i="0" u="none" strike="noStrike">
                          <a:solidFill>
                            <a:srgbClr val="000000"/>
                          </a:solidFill>
                          <a:effectLst/>
                          <a:latin typeface="Arial" panose="020B0604020202020204" pitchFamily="34" charset="0"/>
                        </a:rPr>
                        <a:t>Bas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59%</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9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87%</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88%</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83%</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81%</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86%</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8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8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84%</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799085427"/>
                  </a:ext>
                </a:extLst>
              </a:tr>
              <a:tr h="119935">
                <a:tc>
                  <a:txBody>
                    <a:bodyPr/>
                    <a:lstStyle/>
                    <a:p>
                      <a:pPr algn="l" fontAlgn="b"/>
                      <a:r>
                        <a:rPr lang="en-CA" sz="600" b="0" i="0" u="none" strike="noStrike">
                          <a:solidFill>
                            <a:srgbClr val="000000"/>
                          </a:solidFill>
                          <a:effectLst/>
                          <a:latin typeface="Arial" panose="020B0604020202020204" pitchFamily="34" charset="0"/>
                        </a:rPr>
                        <a:t>Bull</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25%</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3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6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62%</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63%</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58%</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56%</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61%</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6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6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1.59%</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367939659"/>
                  </a:ext>
                </a:extLst>
              </a:tr>
              <a:tr h="119935">
                <a:tc>
                  <a:txBody>
                    <a:bodyPr/>
                    <a:lstStyle/>
                    <a:p>
                      <a:pPr algn="l" fontAlgn="b"/>
                      <a:r>
                        <a:rPr lang="en-CA" sz="600" b="0" i="0" u="none" strike="noStrike">
                          <a:solidFill>
                            <a:srgbClr val="000000"/>
                          </a:solidFill>
                          <a:effectLst/>
                          <a:latin typeface="Arial" panose="020B0604020202020204" pitchFamily="34" charset="0"/>
                        </a:rPr>
                        <a:t>Bear</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25%</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2.1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2.12%</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2.13%</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2.08%</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2.06%</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2.11%</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2.1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2.1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2.09%</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874853278"/>
                  </a:ext>
                </a:extLst>
              </a:tr>
              <a:tr h="119935">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642060514"/>
                  </a:ext>
                </a:extLst>
              </a:tr>
              <a:tr h="119935">
                <a:tc>
                  <a:txBody>
                    <a:bodyPr/>
                    <a:lstStyle/>
                    <a:p>
                      <a:pPr algn="l" fontAlgn="b"/>
                      <a:r>
                        <a:rPr lang="en-CA" sz="600" b="1" i="0" u="none" strike="noStrike">
                          <a:solidFill>
                            <a:srgbClr val="000000"/>
                          </a:solidFill>
                          <a:effectLst/>
                          <a:latin typeface="Arial" panose="020B0604020202020204" pitchFamily="34" charset="0"/>
                        </a:rPr>
                        <a:t>D&amp;A</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8.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9.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2.7</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4.4</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7.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7.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8.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9.4</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282582510"/>
                  </a:ext>
                </a:extLst>
              </a:tr>
              <a:tr h="230484">
                <a:tc>
                  <a:txBody>
                    <a:bodyPr/>
                    <a:lstStyle/>
                    <a:p>
                      <a:pPr algn="l" fontAlgn="b"/>
                      <a:r>
                        <a:rPr lang="en-CA" sz="600" b="0" i="0" u="none" strike="noStrike">
                          <a:solidFill>
                            <a:srgbClr val="000000"/>
                          </a:solidFill>
                          <a:effectLst/>
                          <a:latin typeface="Arial" panose="020B0604020202020204" pitchFamily="34" charset="0"/>
                        </a:rPr>
                        <a:t>   D&amp;A margin</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4%</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2%</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9%</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124215611"/>
                  </a:ext>
                </a:extLst>
              </a:tr>
              <a:tr h="119935">
                <a:tc>
                  <a:txBody>
                    <a:bodyPr/>
                    <a:lstStyle/>
                    <a:p>
                      <a:pPr algn="l" fontAlgn="b"/>
                      <a:r>
                        <a:rPr lang="en-CA" sz="600" b="0" i="0" u="none" strike="noStrike">
                          <a:solidFill>
                            <a:srgbClr val="000000"/>
                          </a:solidFill>
                          <a:effectLst/>
                          <a:latin typeface="Arial" panose="020B0604020202020204" pitchFamily="34" charset="0"/>
                        </a:rPr>
                        <a:t>Bas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2%</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1%</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48%</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48%</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1%</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49%</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49%</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49%</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450297595"/>
                  </a:ext>
                </a:extLst>
              </a:tr>
              <a:tr h="119935">
                <a:tc>
                  <a:txBody>
                    <a:bodyPr/>
                    <a:lstStyle/>
                    <a:p>
                      <a:pPr algn="l" fontAlgn="b"/>
                      <a:r>
                        <a:rPr lang="en-CA" sz="600" b="0" i="0" u="none" strike="noStrike">
                          <a:solidFill>
                            <a:srgbClr val="000000"/>
                          </a:solidFill>
                          <a:effectLst/>
                          <a:latin typeface="Arial" panose="020B0604020202020204" pitchFamily="34" charset="0"/>
                        </a:rPr>
                        <a:t>Bull</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25%</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9%</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7%</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6%</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3%</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3%</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6%</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4%</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39305920"/>
                  </a:ext>
                </a:extLst>
              </a:tr>
              <a:tr h="119935">
                <a:tc>
                  <a:txBody>
                    <a:bodyPr/>
                    <a:lstStyle/>
                    <a:p>
                      <a:pPr algn="l" fontAlgn="b"/>
                      <a:r>
                        <a:rPr lang="en-CA" sz="600" b="0" i="0" u="none" strike="noStrike">
                          <a:solidFill>
                            <a:srgbClr val="000000"/>
                          </a:solidFill>
                          <a:effectLst/>
                          <a:latin typeface="Arial" panose="020B0604020202020204" pitchFamily="34" charset="0"/>
                        </a:rPr>
                        <a:t>Bear</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25%</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9%</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7%</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6%</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3%</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3%</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6%</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4%</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840363199"/>
                  </a:ext>
                </a:extLst>
              </a:tr>
              <a:tr h="119935">
                <a:tc>
                  <a:txBody>
                    <a:bodyPr/>
                    <a:lstStyle/>
                    <a:p>
                      <a:pPr algn="l" fontAlgn="b"/>
                      <a:endParaRPr lang="en-CA" sz="600" b="1" i="0" u="none" strike="noStrike">
                        <a:solidFill>
                          <a:srgbClr val="000000"/>
                        </a:solidFill>
                        <a:effectLst/>
                        <a:latin typeface="Arial" panose="020B0604020202020204" pitchFamily="34" charset="0"/>
                      </a:endParaRP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407443991"/>
                  </a:ext>
                </a:extLst>
              </a:tr>
              <a:tr h="119935">
                <a:tc>
                  <a:txBody>
                    <a:bodyPr/>
                    <a:lstStyle/>
                    <a:p>
                      <a:pPr algn="l" fontAlgn="b"/>
                      <a:r>
                        <a:rPr lang="en-CA" sz="600" b="1" i="0" u="none" strike="noStrike">
                          <a:solidFill>
                            <a:srgbClr val="000000"/>
                          </a:solidFill>
                          <a:effectLst/>
                          <a:latin typeface="Arial" panose="020B0604020202020204" pitchFamily="34" charset="0"/>
                        </a:rPr>
                        <a:t>CapEx</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8.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0.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1.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2.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4.5</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68173122"/>
                  </a:ext>
                </a:extLst>
              </a:tr>
              <a:tr h="230484">
                <a:tc gridSpan="2">
                  <a:txBody>
                    <a:bodyPr/>
                    <a:lstStyle/>
                    <a:p>
                      <a:pPr algn="l" fontAlgn="b"/>
                      <a:r>
                        <a:rPr lang="en-CA" sz="600" b="0" i="0" u="none" strike="noStrike">
                          <a:solidFill>
                            <a:srgbClr val="000000"/>
                          </a:solidFill>
                          <a:effectLst/>
                          <a:latin typeface="Arial" panose="020B0604020202020204" pitchFamily="34" charset="0"/>
                        </a:rPr>
                        <a:t>   CapEx as % of revenu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7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8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5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87%</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9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962248658"/>
                  </a:ext>
                </a:extLst>
              </a:tr>
              <a:tr h="119935">
                <a:tc>
                  <a:txBody>
                    <a:bodyPr/>
                    <a:lstStyle/>
                    <a:p>
                      <a:pPr algn="l" fontAlgn="b"/>
                      <a:r>
                        <a:rPr lang="en-CA" sz="600" b="0" i="0" u="none" strike="noStrike">
                          <a:solidFill>
                            <a:srgbClr val="000000"/>
                          </a:solidFill>
                          <a:effectLst/>
                          <a:latin typeface="Arial" panose="020B0604020202020204" pitchFamily="34" charset="0"/>
                        </a:rPr>
                        <a:t>Bas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973401446"/>
                  </a:ext>
                </a:extLst>
              </a:tr>
              <a:tr h="119935">
                <a:tc>
                  <a:txBody>
                    <a:bodyPr/>
                    <a:lstStyle/>
                    <a:p>
                      <a:pPr algn="l" fontAlgn="b"/>
                      <a:r>
                        <a:rPr lang="en-CA" sz="600" b="0" i="0" u="none" strike="noStrike">
                          <a:solidFill>
                            <a:srgbClr val="000000"/>
                          </a:solidFill>
                          <a:effectLst/>
                          <a:latin typeface="Arial" panose="020B0604020202020204" pitchFamily="34" charset="0"/>
                        </a:rPr>
                        <a:t>Bull</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25%</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4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963765155"/>
                  </a:ext>
                </a:extLst>
              </a:tr>
              <a:tr h="119935">
                <a:tc>
                  <a:txBody>
                    <a:bodyPr/>
                    <a:lstStyle/>
                    <a:p>
                      <a:pPr algn="l" fontAlgn="b"/>
                      <a:r>
                        <a:rPr lang="en-CA" sz="600" b="0" i="0" u="none" strike="noStrike">
                          <a:solidFill>
                            <a:srgbClr val="000000"/>
                          </a:solidFill>
                          <a:effectLst/>
                          <a:latin typeface="Arial" panose="020B0604020202020204" pitchFamily="34" charset="0"/>
                        </a:rPr>
                        <a:t>Bear</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25%</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9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00%</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143557442"/>
                  </a:ext>
                </a:extLst>
              </a:tr>
              <a:tr h="119935">
                <a:tc>
                  <a:txBody>
                    <a:bodyPr/>
                    <a:lstStyle/>
                    <a:p>
                      <a:pPr algn="l" fontAlgn="b"/>
                      <a:endParaRPr lang="en-CA" sz="600" b="1" i="0" u="none" strike="noStrike">
                        <a:solidFill>
                          <a:srgbClr val="000000"/>
                        </a:solidFill>
                        <a:effectLst/>
                        <a:latin typeface="Arial" panose="020B0604020202020204" pitchFamily="34" charset="0"/>
                      </a:endParaRP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337189905"/>
                  </a:ext>
                </a:extLst>
              </a:tr>
              <a:tr h="119935">
                <a:tc gridSpan="2">
                  <a:txBody>
                    <a:bodyPr/>
                    <a:lstStyle/>
                    <a:p>
                      <a:pPr algn="l" fontAlgn="b"/>
                      <a:r>
                        <a:rPr lang="en-CA" sz="600" b="1" i="0" u="none" strike="noStrike">
                          <a:solidFill>
                            <a:srgbClr val="000000"/>
                          </a:solidFill>
                          <a:effectLst/>
                          <a:latin typeface="Arial" panose="020B0604020202020204" pitchFamily="34" charset="0"/>
                        </a:rPr>
                        <a:t>Change in NWC</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9.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8.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5.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2</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4</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4.6</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3.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2.1</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4.7</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3.2</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3</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793077193"/>
                  </a:ext>
                </a:extLst>
              </a:tr>
              <a:tr h="119935">
                <a:tc gridSpan="3">
                  <a:txBody>
                    <a:bodyPr/>
                    <a:lstStyle/>
                    <a:p>
                      <a:pPr algn="l" fontAlgn="b"/>
                      <a:r>
                        <a:rPr lang="en-US" sz="600" b="0" i="0" u="none" strike="noStrike">
                          <a:solidFill>
                            <a:srgbClr val="000000"/>
                          </a:solidFill>
                          <a:effectLst/>
                          <a:latin typeface="Arial" panose="020B0604020202020204" pitchFamily="34" charset="0"/>
                        </a:rPr>
                        <a:t>   Change in NWC as % of revenu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endParaRPr lang="en-CA"/>
                    </a:p>
                  </a:txBody>
                  <a:tcPr/>
                </a:tc>
                <a:tc>
                  <a:txBody>
                    <a:bodyPr/>
                    <a:lstStyle/>
                    <a:p>
                      <a:pPr algn="r" fontAlgn="b"/>
                      <a:r>
                        <a:rPr lang="en-CA" sz="600" b="0" i="0" u="none" strike="noStrike">
                          <a:solidFill>
                            <a:srgbClr val="000000"/>
                          </a:solidFill>
                          <a:effectLst/>
                          <a:latin typeface="Arial" panose="020B0604020202020204" pitchFamily="34" charset="0"/>
                        </a:rPr>
                        <a:t>5.2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04%</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47%</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3%</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9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7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0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5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0%</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9%</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7%</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7%</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5%</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8%</a:t>
                      </a: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3%</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924706106"/>
                  </a:ext>
                </a:extLst>
              </a:tr>
              <a:tr h="119935">
                <a:tc>
                  <a:txBody>
                    <a:bodyPr/>
                    <a:lstStyle/>
                    <a:p>
                      <a:pPr algn="l" fontAlgn="b"/>
                      <a:r>
                        <a:rPr lang="en-CA" sz="600" b="0" i="0" u="none" strike="noStrike">
                          <a:solidFill>
                            <a:srgbClr val="000000"/>
                          </a:solidFill>
                          <a:effectLst/>
                          <a:latin typeface="Arial" panose="020B0604020202020204" pitchFamily="34" charset="0"/>
                        </a:rPr>
                        <a:t>Base</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79%</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0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0.59%</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6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39%</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7%</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37%</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38%</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33%</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3577577632"/>
                  </a:ext>
                </a:extLst>
              </a:tr>
              <a:tr h="119935">
                <a:tc>
                  <a:txBody>
                    <a:bodyPr/>
                    <a:lstStyle/>
                    <a:p>
                      <a:pPr algn="l" fontAlgn="b"/>
                      <a:r>
                        <a:rPr lang="en-CA" sz="600" b="0" i="0" u="none" strike="noStrike">
                          <a:solidFill>
                            <a:srgbClr val="000000"/>
                          </a:solidFill>
                          <a:effectLst/>
                          <a:latin typeface="Arial" panose="020B0604020202020204" pitchFamily="34" charset="0"/>
                        </a:rPr>
                        <a:t>Bull</a:t>
                      </a:r>
                    </a:p>
                  </a:txBody>
                  <a:tcPr marL="3858" marR="3858" marT="3858"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25%</a:t>
                      </a: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2.2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0.8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85%</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64%</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2%</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62%</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63%</a:t>
                      </a:r>
                    </a:p>
                  </a:txBody>
                  <a:tcPr marL="3858" marR="3858" marT="3858"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58%</a:t>
                      </a:r>
                    </a:p>
                  </a:txBody>
                  <a:tcPr marL="3858" marR="3858" marT="3858"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val="2641245879"/>
                  </a:ext>
                </a:extLst>
              </a:tr>
              <a:tr h="119935">
                <a:tc>
                  <a:txBody>
                    <a:bodyPr/>
                    <a:lstStyle/>
                    <a:p>
                      <a:pPr algn="l" fontAlgn="b"/>
                      <a:r>
                        <a:rPr lang="en-CA" sz="600" b="0" i="0" u="none" strike="noStrike">
                          <a:solidFill>
                            <a:srgbClr val="000000"/>
                          </a:solidFill>
                          <a:effectLst/>
                          <a:latin typeface="Arial" panose="020B0604020202020204" pitchFamily="34" charset="0"/>
                        </a:rPr>
                        <a:t>Bear</a:t>
                      </a:r>
                    </a:p>
                  </a:txBody>
                  <a:tcPr marL="3858" marR="3858" marT="3858" marB="0"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0.25%</a:t>
                      </a: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0.54%</a:t>
                      </a: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0.34%</a:t>
                      </a: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35%</a:t>
                      </a: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14%</a:t>
                      </a: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02%</a:t>
                      </a: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12%</a:t>
                      </a: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00%</a:t>
                      </a: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13%</a:t>
                      </a:r>
                    </a:p>
                  </a:txBody>
                  <a:tcPr marL="3858" marR="3858" marT="3858"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08%</a:t>
                      </a:r>
                    </a:p>
                  </a:txBody>
                  <a:tcPr marL="3858" marR="3858" marT="3858"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1253490351"/>
                  </a:ext>
                </a:extLst>
              </a:tr>
            </a:tbl>
          </a:graphicData>
        </a:graphic>
      </p:graphicFrame>
      <p:sp>
        <p:nvSpPr>
          <p:cNvPr id="11" name="Rectangle 10">
            <a:extLst>
              <a:ext uri="{FF2B5EF4-FFF2-40B4-BE49-F238E27FC236}">
                <a16:creationId xmlns:a16="http://schemas.microsoft.com/office/drawing/2014/main" id="{8F643441-A102-D7EC-0DD3-770CB2AC6885}"/>
              </a:ext>
            </a:extLst>
          </p:cNvPr>
          <p:cNvSpPr/>
          <p:nvPr/>
        </p:nvSpPr>
        <p:spPr>
          <a:xfrm>
            <a:off x="6612941" y="6466637"/>
            <a:ext cx="1923897" cy="293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Tree>
    <p:extLst>
      <p:ext uri="{BB962C8B-B14F-4D97-AF65-F5344CB8AC3E}">
        <p14:creationId xmlns:p14="http://schemas.microsoft.com/office/powerpoint/2010/main" val="446537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E43F7-1291-A87A-CDEB-AA5062BEF49C}"/>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B2EBAC0-6E77-2DD5-8BCC-DCDBCE44C3A8}"/>
              </a:ext>
            </a:extLst>
          </p:cNvPr>
          <p:cNvSpPr>
            <a:spLocks noGrp="1"/>
          </p:cNvSpPr>
          <p:nvPr>
            <p:ph type="body" sz="quarter" idx="21"/>
          </p:nvPr>
        </p:nvSpPr>
        <p:spPr/>
        <p:txBody>
          <a:bodyPr>
            <a:noAutofit/>
          </a:bodyPr>
          <a:lstStyle/>
          <a:p>
            <a:r>
              <a:rPr lang="en-US"/>
              <a:t>Base case</a:t>
            </a:r>
            <a:endParaRPr lang="en-CA"/>
          </a:p>
        </p:txBody>
      </p:sp>
      <p:sp>
        <p:nvSpPr>
          <p:cNvPr id="4" name="Title 3">
            <a:extLst>
              <a:ext uri="{FF2B5EF4-FFF2-40B4-BE49-F238E27FC236}">
                <a16:creationId xmlns:a16="http://schemas.microsoft.com/office/drawing/2014/main" id="{19A1829F-3623-66F3-DC82-3BD8079B3EAA}"/>
              </a:ext>
            </a:extLst>
          </p:cNvPr>
          <p:cNvSpPr>
            <a:spLocks noGrp="1"/>
          </p:cNvSpPr>
          <p:nvPr>
            <p:ph type="title"/>
          </p:nvPr>
        </p:nvSpPr>
        <p:spPr/>
        <p:txBody>
          <a:bodyPr/>
          <a:lstStyle/>
          <a:p>
            <a:r>
              <a:rPr lang="en-US"/>
              <a:t>Discounted Cash Flow Valuation</a:t>
            </a:r>
            <a:endParaRPr lang="en-CA"/>
          </a:p>
        </p:txBody>
      </p:sp>
      <p:sp>
        <p:nvSpPr>
          <p:cNvPr id="6" name="Text Placeholder 5">
            <a:extLst>
              <a:ext uri="{FF2B5EF4-FFF2-40B4-BE49-F238E27FC236}">
                <a16:creationId xmlns:a16="http://schemas.microsoft.com/office/drawing/2014/main" id="{97EB4D54-93D6-3A3A-AFAA-4C17402EA188}"/>
              </a:ext>
            </a:extLst>
          </p:cNvPr>
          <p:cNvSpPr>
            <a:spLocks noGrp="1"/>
          </p:cNvSpPr>
          <p:nvPr>
            <p:ph type="body" sz="quarter" idx="13"/>
          </p:nvPr>
        </p:nvSpPr>
        <p:spPr/>
        <p:txBody>
          <a:bodyPr/>
          <a:lstStyle/>
          <a:p>
            <a:r>
              <a:rPr lang="en-US"/>
              <a:t>Source(s): Bloomberg, Capital IQ, </a:t>
            </a:r>
            <a:r>
              <a:rPr lang="en-US" err="1"/>
              <a:t>Addus</a:t>
            </a:r>
            <a:r>
              <a:rPr lang="en-US"/>
              <a:t> 10-k</a:t>
            </a:r>
            <a:endParaRPr lang="en-CA"/>
          </a:p>
        </p:txBody>
      </p:sp>
      <p:sp>
        <p:nvSpPr>
          <p:cNvPr id="2" name="Rectangle 1">
            <a:extLst>
              <a:ext uri="{FF2B5EF4-FFF2-40B4-BE49-F238E27FC236}">
                <a16:creationId xmlns:a16="http://schemas.microsoft.com/office/drawing/2014/main" id="{8F7361D8-8EFF-9651-ABE6-D5360EBEC09C}"/>
              </a:ext>
            </a:extLst>
          </p:cNvPr>
          <p:cNvSpPr/>
          <p:nvPr/>
        </p:nvSpPr>
        <p:spPr>
          <a:xfrm>
            <a:off x="6612941" y="6466637"/>
            <a:ext cx="1923897" cy="293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graphicFrame>
        <p:nvGraphicFramePr>
          <p:cNvPr id="7" name="Table 6">
            <a:extLst>
              <a:ext uri="{FF2B5EF4-FFF2-40B4-BE49-F238E27FC236}">
                <a16:creationId xmlns:a16="http://schemas.microsoft.com/office/drawing/2014/main" id="{3FB517AD-A18A-AFA0-61A2-21A9CE5A948A}"/>
              </a:ext>
            </a:extLst>
          </p:cNvPr>
          <p:cNvGraphicFramePr>
            <a:graphicFrameLocks noGrp="1"/>
          </p:cNvGraphicFramePr>
          <p:nvPr>
            <p:extLst>
              <p:ext uri="{D42A27DB-BD31-4B8C-83A1-F6EECF244321}">
                <p14:modId xmlns:p14="http://schemas.microsoft.com/office/powerpoint/2010/main" val="3304634452"/>
              </p:ext>
            </p:extLst>
          </p:nvPr>
        </p:nvGraphicFramePr>
        <p:xfrm>
          <a:off x="188913" y="1006479"/>
          <a:ext cx="8704261" cy="5211432"/>
        </p:xfrm>
        <a:graphic>
          <a:graphicData uri="http://schemas.openxmlformats.org/drawingml/2006/table">
            <a:tbl>
              <a:tblPr/>
              <a:tblGrid>
                <a:gridCol w="356842">
                  <a:extLst>
                    <a:ext uri="{9D8B030D-6E8A-4147-A177-3AD203B41FA5}">
                      <a16:colId xmlns:a16="http://schemas.microsoft.com/office/drawing/2014/main" val="2033968999"/>
                    </a:ext>
                  </a:extLst>
                </a:gridCol>
                <a:gridCol w="130520">
                  <a:extLst>
                    <a:ext uri="{9D8B030D-6E8A-4147-A177-3AD203B41FA5}">
                      <a16:colId xmlns:a16="http://schemas.microsoft.com/office/drawing/2014/main" val="1642990016"/>
                    </a:ext>
                  </a:extLst>
                </a:gridCol>
                <a:gridCol w="226322">
                  <a:extLst>
                    <a:ext uri="{9D8B030D-6E8A-4147-A177-3AD203B41FA5}">
                      <a16:colId xmlns:a16="http://schemas.microsoft.com/office/drawing/2014/main" val="3185390605"/>
                    </a:ext>
                  </a:extLst>
                </a:gridCol>
                <a:gridCol w="356842">
                  <a:extLst>
                    <a:ext uri="{9D8B030D-6E8A-4147-A177-3AD203B41FA5}">
                      <a16:colId xmlns:a16="http://schemas.microsoft.com/office/drawing/2014/main" val="1245032074"/>
                    </a:ext>
                  </a:extLst>
                </a:gridCol>
                <a:gridCol w="533007">
                  <a:extLst>
                    <a:ext uri="{9D8B030D-6E8A-4147-A177-3AD203B41FA5}">
                      <a16:colId xmlns:a16="http://schemas.microsoft.com/office/drawing/2014/main" val="3359185887"/>
                    </a:ext>
                  </a:extLst>
                </a:gridCol>
                <a:gridCol w="533007">
                  <a:extLst>
                    <a:ext uri="{9D8B030D-6E8A-4147-A177-3AD203B41FA5}">
                      <a16:colId xmlns:a16="http://schemas.microsoft.com/office/drawing/2014/main" val="2633674827"/>
                    </a:ext>
                  </a:extLst>
                </a:gridCol>
                <a:gridCol w="533007">
                  <a:extLst>
                    <a:ext uri="{9D8B030D-6E8A-4147-A177-3AD203B41FA5}">
                      <a16:colId xmlns:a16="http://schemas.microsoft.com/office/drawing/2014/main" val="3577422498"/>
                    </a:ext>
                  </a:extLst>
                </a:gridCol>
                <a:gridCol w="533007">
                  <a:extLst>
                    <a:ext uri="{9D8B030D-6E8A-4147-A177-3AD203B41FA5}">
                      <a16:colId xmlns:a16="http://schemas.microsoft.com/office/drawing/2014/main" val="796546938"/>
                    </a:ext>
                  </a:extLst>
                </a:gridCol>
                <a:gridCol w="533007">
                  <a:extLst>
                    <a:ext uri="{9D8B030D-6E8A-4147-A177-3AD203B41FA5}">
                      <a16:colId xmlns:a16="http://schemas.microsoft.com/office/drawing/2014/main" val="1377400281"/>
                    </a:ext>
                  </a:extLst>
                </a:gridCol>
                <a:gridCol w="533007">
                  <a:extLst>
                    <a:ext uri="{9D8B030D-6E8A-4147-A177-3AD203B41FA5}">
                      <a16:colId xmlns:a16="http://schemas.microsoft.com/office/drawing/2014/main" val="2515966705"/>
                    </a:ext>
                  </a:extLst>
                </a:gridCol>
                <a:gridCol w="533007">
                  <a:extLst>
                    <a:ext uri="{9D8B030D-6E8A-4147-A177-3AD203B41FA5}">
                      <a16:colId xmlns:a16="http://schemas.microsoft.com/office/drawing/2014/main" val="3937505410"/>
                    </a:ext>
                  </a:extLst>
                </a:gridCol>
                <a:gridCol w="533007">
                  <a:extLst>
                    <a:ext uri="{9D8B030D-6E8A-4147-A177-3AD203B41FA5}">
                      <a16:colId xmlns:a16="http://schemas.microsoft.com/office/drawing/2014/main" val="738647320"/>
                    </a:ext>
                  </a:extLst>
                </a:gridCol>
                <a:gridCol w="533007">
                  <a:extLst>
                    <a:ext uri="{9D8B030D-6E8A-4147-A177-3AD203B41FA5}">
                      <a16:colId xmlns:a16="http://schemas.microsoft.com/office/drawing/2014/main" val="2981761114"/>
                    </a:ext>
                  </a:extLst>
                </a:gridCol>
                <a:gridCol w="533007">
                  <a:extLst>
                    <a:ext uri="{9D8B030D-6E8A-4147-A177-3AD203B41FA5}">
                      <a16:colId xmlns:a16="http://schemas.microsoft.com/office/drawing/2014/main" val="2303331236"/>
                    </a:ext>
                  </a:extLst>
                </a:gridCol>
                <a:gridCol w="460733">
                  <a:extLst>
                    <a:ext uri="{9D8B030D-6E8A-4147-A177-3AD203B41FA5}">
                      <a16:colId xmlns:a16="http://schemas.microsoft.com/office/drawing/2014/main" val="61899126"/>
                    </a:ext>
                  </a:extLst>
                </a:gridCol>
                <a:gridCol w="460733">
                  <a:extLst>
                    <a:ext uri="{9D8B030D-6E8A-4147-A177-3AD203B41FA5}">
                      <a16:colId xmlns:a16="http://schemas.microsoft.com/office/drawing/2014/main" val="3054569214"/>
                    </a:ext>
                  </a:extLst>
                </a:gridCol>
                <a:gridCol w="460733">
                  <a:extLst>
                    <a:ext uri="{9D8B030D-6E8A-4147-A177-3AD203B41FA5}">
                      <a16:colId xmlns:a16="http://schemas.microsoft.com/office/drawing/2014/main" val="2849982459"/>
                    </a:ext>
                  </a:extLst>
                </a:gridCol>
                <a:gridCol w="460733">
                  <a:extLst>
                    <a:ext uri="{9D8B030D-6E8A-4147-A177-3AD203B41FA5}">
                      <a16:colId xmlns:a16="http://schemas.microsoft.com/office/drawing/2014/main" val="1731606492"/>
                    </a:ext>
                  </a:extLst>
                </a:gridCol>
                <a:gridCol w="460733">
                  <a:extLst>
                    <a:ext uri="{9D8B030D-6E8A-4147-A177-3AD203B41FA5}">
                      <a16:colId xmlns:a16="http://schemas.microsoft.com/office/drawing/2014/main" val="3734633121"/>
                    </a:ext>
                  </a:extLst>
                </a:gridCol>
              </a:tblGrid>
              <a:tr h="204134">
                <a:tc gridSpan="4">
                  <a:txBody>
                    <a:bodyPr/>
                    <a:lstStyle/>
                    <a:p>
                      <a:pPr algn="l" fontAlgn="ctr"/>
                      <a:r>
                        <a:rPr lang="en-CA" sz="600" b="1" i="0" u="none" strike="noStrike">
                          <a:solidFill>
                            <a:srgbClr val="FFFFFF"/>
                          </a:solidFill>
                          <a:effectLst/>
                          <a:latin typeface="Arial" panose="020B0604020202020204" pitchFamily="34" charset="0"/>
                        </a:rPr>
                        <a:t>Discounted Cash Flow Model</a:t>
                      </a:r>
                    </a:p>
                  </a:txBody>
                  <a:tcPr marL="3856" marR="3856" marT="3856"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endParaRPr lang="en-CA"/>
                    </a:p>
                  </a:txBody>
                  <a:tcPr/>
                </a:tc>
                <a:tc hMerge="1">
                  <a:txBody>
                    <a:bodyPr/>
                    <a:lstStyle/>
                    <a:p>
                      <a:endParaRPr lang="en-CA"/>
                    </a:p>
                  </a:txBody>
                  <a:tcPr/>
                </a:tc>
                <a:tc hMerge="1">
                  <a:txBody>
                    <a:bodyPr/>
                    <a:lstStyle/>
                    <a:p>
                      <a:endParaRPr lang="en-CA"/>
                    </a:p>
                  </a:txBody>
                  <a:tcPr/>
                </a:tc>
                <a:tc>
                  <a:txBody>
                    <a:bodyPr/>
                    <a:lstStyle/>
                    <a:p>
                      <a:pPr algn="l" fontAlgn="ctr"/>
                      <a:r>
                        <a:rPr lang="en-CA" sz="600" b="1" i="0" u="none" strike="noStrike">
                          <a:solidFill>
                            <a:srgbClr val="FFFFFF"/>
                          </a:solidFill>
                          <a:effectLst/>
                          <a:latin typeface="Arial" panose="020B0604020202020204" pitchFamily="34" charset="0"/>
                        </a:rPr>
                        <a:t> </a:t>
                      </a:r>
                    </a:p>
                  </a:txBody>
                  <a:tcPr marL="3856" marR="3856" marT="3856"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FFFFFF"/>
                          </a:solidFill>
                          <a:effectLst/>
                          <a:latin typeface="Arial" panose="020B0604020202020204" pitchFamily="34" charset="0"/>
                        </a:rPr>
                        <a:t> </a:t>
                      </a:r>
                    </a:p>
                  </a:txBody>
                  <a:tcPr marL="3856" marR="3856" marT="3856"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FFFFFF"/>
                          </a:solidFill>
                          <a:effectLst/>
                          <a:latin typeface="Arial" panose="020B0604020202020204" pitchFamily="34" charset="0"/>
                        </a:rPr>
                        <a:t> </a:t>
                      </a:r>
                    </a:p>
                  </a:txBody>
                  <a:tcPr marL="3856" marR="3856" marT="3856"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FFFFFF"/>
                          </a:solidFill>
                          <a:effectLst/>
                          <a:latin typeface="Arial" panose="020B0604020202020204" pitchFamily="34" charset="0"/>
                        </a:rPr>
                        <a:t> </a:t>
                      </a:r>
                    </a:p>
                  </a:txBody>
                  <a:tcPr marL="3856" marR="3856" marT="3856"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FFFFFF"/>
                          </a:solidFill>
                          <a:effectLst/>
                          <a:latin typeface="Arial" panose="020B0604020202020204" pitchFamily="34" charset="0"/>
                        </a:rPr>
                        <a:t> </a:t>
                      </a:r>
                    </a:p>
                  </a:txBody>
                  <a:tcPr marL="3856" marR="3856" marT="3856"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FFFFFF"/>
                          </a:solidFill>
                          <a:effectLst/>
                          <a:latin typeface="Arial" panose="020B0604020202020204" pitchFamily="34" charset="0"/>
                        </a:rPr>
                        <a:t> </a:t>
                      </a:r>
                    </a:p>
                  </a:txBody>
                  <a:tcPr marL="3856" marR="3856" marT="3856"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FFFFFF"/>
                          </a:solidFill>
                          <a:effectLst/>
                          <a:latin typeface="Arial" panose="020B0604020202020204" pitchFamily="34" charset="0"/>
                        </a:rPr>
                        <a:t> </a:t>
                      </a:r>
                    </a:p>
                  </a:txBody>
                  <a:tcPr marL="3856" marR="3856" marT="3856"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FFFFFF"/>
                          </a:solidFill>
                          <a:effectLst/>
                          <a:latin typeface="Arial" panose="020B0604020202020204" pitchFamily="34" charset="0"/>
                        </a:rPr>
                        <a:t> </a:t>
                      </a:r>
                    </a:p>
                  </a:txBody>
                  <a:tcPr marL="3856" marR="3856" marT="3856"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FFFFFF"/>
                          </a:solidFill>
                          <a:effectLst/>
                          <a:latin typeface="Arial" panose="020B0604020202020204" pitchFamily="34" charset="0"/>
                        </a:rPr>
                        <a:t> </a:t>
                      </a:r>
                    </a:p>
                  </a:txBody>
                  <a:tcPr marL="3856" marR="3856" marT="3856"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600" b="1" i="0" u="none" strike="noStrike">
                          <a:solidFill>
                            <a:srgbClr val="FFFFFF"/>
                          </a:solidFill>
                          <a:effectLst/>
                          <a:latin typeface="Arial" panose="020B0604020202020204" pitchFamily="34" charset="0"/>
                        </a:rPr>
                        <a:t> </a:t>
                      </a:r>
                    </a:p>
                  </a:txBody>
                  <a:tcPr marL="3856" marR="3856" marT="3856" marB="0" anchor="ctr">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F3557"/>
                    </a:solidFill>
                  </a:tcPr>
                </a:tc>
                <a:extLst>
                  <a:ext uri="{0D108BD9-81ED-4DB2-BD59-A6C34878D82A}">
                    <a16:rowId xmlns:a16="http://schemas.microsoft.com/office/drawing/2014/main" val="360754100"/>
                  </a:ext>
                </a:extLst>
              </a:tr>
              <a:tr h="204134">
                <a:tc>
                  <a:txBody>
                    <a:bodyPr/>
                    <a:lstStyle/>
                    <a:p>
                      <a:pPr algn="l" fontAlgn="b"/>
                      <a:r>
                        <a:rPr lang="en-CA" sz="600" b="0" i="1" u="none" strike="noStrike">
                          <a:solidFill>
                            <a:srgbClr val="000000"/>
                          </a:solidFill>
                          <a:effectLst/>
                          <a:latin typeface="Arial" panose="020B0604020202020204" pitchFamily="34" charset="0"/>
                        </a:rPr>
                        <a:t>Fiscal Year</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019H</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2020H</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2021H</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2022H</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2023H</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chemeClr val="tx1"/>
                          </a:solidFill>
                          <a:effectLst/>
                          <a:latin typeface="Arial" panose="020B0604020202020204" pitchFamily="34" charset="0"/>
                        </a:rPr>
                        <a:t>2024F</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chemeClr val="tx1"/>
                          </a:solidFill>
                          <a:effectLst/>
                          <a:latin typeface="Arial" panose="020B0604020202020204" pitchFamily="34" charset="0"/>
                        </a:rPr>
                        <a:t>2025F</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chemeClr val="tx1"/>
                          </a:solidFill>
                          <a:effectLst/>
                          <a:latin typeface="Arial" panose="020B0604020202020204" pitchFamily="34" charset="0"/>
                        </a:rPr>
                        <a:t>2026F</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chemeClr val="tx1"/>
                          </a:solidFill>
                          <a:effectLst/>
                          <a:latin typeface="Arial" panose="020B0604020202020204" pitchFamily="34" charset="0"/>
                        </a:rPr>
                        <a:t>2027F</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chemeClr val="tx1"/>
                          </a:solidFill>
                          <a:effectLst/>
                          <a:latin typeface="Arial" panose="020B0604020202020204" pitchFamily="34" charset="0"/>
                        </a:rPr>
                        <a:t>2028F</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chemeClr val="tx1"/>
                          </a:solidFill>
                          <a:effectLst/>
                          <a:latin typeface="Arial" panose="020B0604020202020204" pitchFamily="34" charset="0"/>
                        </a:rPr>
                        <a:t>2029F</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chemeClr val="tx1"/>
                          </a:solidFill>
                          <a:effectLst/>
                          <a:latin typeface="Arial" panose="020B0604020202020204" pitchFamily="34" charset="0"/>
                        </a:rPr>
                        <a:t>2030F</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chemeClr val="tx1"/>
                          </a:solidFill>
                          <a:effectLst/>
                          <a:latin typeface="Arial" panose="020B0604020202020204" pitchFamily="34" charset="0"/>
                        </a:rPr>
                        <a:t>2031F</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chemeClr val="tx1"/>
                          </a:solidFill>
                          <a:effectLst/>
                          <a:latin typeface="Arial" panose="020B0604020202020204" pitchFamily="34" charset="0"/>
                        </a:rPr>
                        <a:t>2032F</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600" b="1" i="0" u="none" strike="noStrike">
                          <a:solidFill>
                            <a:schemeClr val="tx1"/>
                          </a:solidFill>
                          <a:effectLst/>
                          <a:latin typeface="Arial" panose="020B0604020202020204" pitchFamily="34" charset="0"/>
                        </a:rPr>
                        <a:t>2033F</a:t>
                      </a:r>
                    </a:p>
                  </a:txBody>
                  <a:tcPr marL="3856" marR="3856" marT="3856"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2085620"/>
                  </a:ext>
                </a:extLst>
              </a:tr>
              <a:tr h="106224">
                <a:tc>
                  <a:txBody>
                    <a:bodyPr/>
                    <a:lstStyle/>
                    <a:p>
                      <a:pPr algn="l" fontAlgn="b"/>
                      <a:r>
                        <a:rPr lang="en-CA" sz="600" b="1" i="0" u="none" strike="noStrike">
                          <a:solidFill>
                            <a:srgbClr val="000000"/>
                          </a:solidFill>
                          <a:effectLst/>
                          <a:latin typeface="Arial" panose="020B0604020202020204" pitchFamily="34" charset="0"/>
                        </a:rPr>
                        <a:t>Revenue</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48.8</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764.8</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864.5</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951.1</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058.7</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164.6</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304.3</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421.7</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535.4</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650.6</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733.1</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802.5</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865.5</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921.5</a:t>
                      </a: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600" b="0" i="0" u="none" strike="noStrike">
                          <a:solidFill>
                            <a:srgbClr val="000000"/>
                          </a:solidFill>
                          <a:effectLst/>
                          <a:latin typeface="Arial" panose="020B0604020202020204" pitchFamily="34" charset="0"/>
                        </a:rPr>
                        <a:t>1969.5</a:t>
                      </a:r>
                    </a:p>
                  </a:txBody>
                  <a:tcPr marL="3856" marR="3856" marT="3856"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20646566"/>
                  </a:ext>
                </a:extLst>
              </a:tr>
              <a:tr h="204134">
                <a:tc gridSpan="3">
                  <a:txBody>
                    <a:bodyPr/>
                    <a:lstStyle/>
                    <a:p>
                      <a:pPr algn="l" fontAlgn="b"/>
                      <a:r>
                        <a:rPr lang="en-CA" sz="600" b="0" i="0" u="none" strike="noStrike">
                          <a:solidFill>
                            <a:srgbClr val="000000"/>
                          </a:solidFill>
                          <a:effectLst/>
                          <a:latin typeface="Arial" panose="020B0604020202020204" pitchFamily="34" charset="0"/>
                        </a:rPr>
                        <a:t>   Revenue growth (%)</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8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0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0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3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5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5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50%</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47796709"/>
                  </a:ext>
                </a:extLst>
              </a:tr>
              <a:tr h="106224">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651563462"/>
                  </a:ext>
                </a:extLst>
              </a:tr>
              <a:tr h="204134">
                <a:tc gridSpan="3">
                  <a:txBody>
                    <a:bodyPr/>
                    <a:lstStyle/>
                    <a:p>
                      <a:pPr algn="l" fontAlgn="b"/>
                      <a:r>
                        <a:rPr lang="en-CA" sz="600" b="1" i="0" u="none" strike="noStrike">
                          <a:solidFill>
                            <a:srgbClr val="000000"/>
                          </a:solidFill>
                          <a:effectLst/>
                          <a:latin typeface="Arial" panose="020B0604020202020204" pitchFamily="34" charset="0"/>
                        </a:rPr>
                        <a:t>Cost of Goods Sold</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CA" sz="600" b="1"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69.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37.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95.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46.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15.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86.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80.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56.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32.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05.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61.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07.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49.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87.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19.6</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484160553"/>
                  </a:ext>
                </a:extLst>
              </a:tr>
              <a:tr h="204134">
                <a:tc gridSpan="3">
                  <a:txBody>
                    <a:bodyPr/>
                    <a:lstStyle/>
                    <a:p>
                      <a:pPr algn="l" fontAlgn="b"/>
                      <a:r>
                        <a:rPr lang="en-CA" sz="600" b="0" i="0" u="none" strike="noStrike">
                          <a:solidFill>
                            <a:srgbClr val="000000"/>
                          </a:solidFill>
                          <a:effectLst/>
                          <a:latin typeface="Arial" panose="020B0604020202020204" pitchFamily="34" charset="0"/>
                        </a:rPr>
                        <a:t>   COGS as % of revenue</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2.3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0.2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8.8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9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6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5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5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2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7.00%</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870710822"/>
                  </a:ext>
                </a:extLst>
              </a:tr>
              <a:tr h="106224">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869213039"/>
                  </a:ext>
                </a:extLst>
              </a:tr>
              <a:tr h="204134">
                <a:tc>
                  <a:txBody>
                    <a:bodyPr/>
                    <a:lstStyle/>
                    <a:p>
                      <a:pPr algn="l" fontAlgn="b"/>
                      <a:r>
                        <a:rPr lang="en-CA" sz="600" b="1" i="0" u="none" strike="noStrike">
                          <a:solidFill>
                            <a:srgbClr val="000000"/>
                          </a:solidFill>
                          <a:effectLst/>
                          <a:latin typeface="Arial" panose="020B0604020202020204" pitchFamily="34" charset="0"/>
                        </a:rPr>
                        <a:t>Gross Profit</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9.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27.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9.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04.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42.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78.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23.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65.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02.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44.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71.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94.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15.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34.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50.0</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692453417"/>
                  </a:ext>
                </a:extLst>
              </a:tr>
              <a:tr h="106224">
                <a:tc gridSpan="3">
                  <a:txBody>
                    <a:bodyPr/>
                    <a:lstStyle/>
                    <a:p>
                      <a:pPr algn="l" fontAlgn="b"/>
                      <a:r>
                        <a:rPr lang="en-CA" sz="600" b="0" i="0" u="none" strike="noStrike">
                          <a:solidFill>
                            <a:srgbClr val="000000"/>
                          </a:solidFill>
                          <a:effectLst/>
                          <a:latin typeface="Arial" panose="020B0604020202020204" pitchFamily="34" charset="0"/>
                        </a:rPr>
                        <a:t>   Gross margin</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7.6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9.7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1.1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2.0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2.3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2.5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2.5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2.7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2.7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00%</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460965335"/>
                  </a:ext>
                </a:extLst>
              </a:tr>
              <a:tr h="106224">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628083439"/>
                  </a:ext>
                </a:extLst>
              </a:tr>
              <a:tr h="204134">
                <a:tc gridSpan="4">
                  <a:txBody>
                    <a:bodyPr/>
                    <a:lstStyle/>
                    <a:p>
                      <a:pPr algn="l" fontAlgn="b"/>
                      <a:r>
                        <a:rPr lang="en-CA" sz="600" b="1" i="0" u="none" strike="noStrike">
                          <a:solidFill>
                            <a:srgbClr val="000000"/>
                          </a:solidFill>
                          <a:effectLst/>
                          <a:latin typeface="Arial" panose="020B0604020202020204" pitchFamily="34" charset="0"/>
                        </a:rPr>
                        <a:t>Selling General &amp; Admin Expenses</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endParaRPr lang="en-CA"/>
                    </a:p>
                  </a:txBody>
                  <a:tcPr/>
                </a:tc>
                <a:tc hMerge="1">
                  <a:txBody>
                    <a:bodyPr/>
                    <a:lstStyle/>
                    <a:p>
                      <a:endParaRPr lang="en-CA"/>
                    </a:p>
                  </a:txBody>
                  <a:tcPr/>
                </a:tc>
                <a:tc>
                  <a:txBody>
                    <a:bodyPr/>
                    <a:lstStyle/>
                    <a:p>
                      <a:pPr algn="r" fontAlgn="b"/>
                      <a:r>
                        <a:rPr lang="en-CA" sz="600" b="0" i="0" u="none" strike="noStrike">
                          <a:solidFill>
                            <a:srgbClr val="000000"/>
                          </a:solidFill>
                          <a:effectLst/>
                          <a:latin typeface="Arial" panose="020B0604020202020204" pitchFamily="34" charset="0"/>
                        </a:rPr>
                        <a:t>130.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8.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88.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0.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31.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51.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85.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10.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6.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60.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78.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94.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07.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19.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30.1</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832348216"/>
                  </a:ext>
                </a:extLst>
              </a:tr>
              <a:tr h="204134">
                <a:tc gridSpan="3">
                  <a:txBody>
                    <a:bodyPr/>
                    <a:lstStyle/>
                    <a:p>
                      <a:pPr algn="l" fontAlgn="b"/>
                      <a:r>
                        <a:rPr lang="en-US" sz="600" b="0" i="0" u="none" strike="noStrike">
                          <a:solidFill>
                            <a:srgbClr val="000000"/>
                          </a:solidFill>
                          <a:effectLst/>
                          <a:latin typeface="Arial" panose="020B0604020202020204" pitchFamily="34" charset="0"/>
                        </a:rPr>
                        <a:t>   SG&amp;A as % of revenue</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US" sz="600" b="0"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0.0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2.0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2.1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5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9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84%</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024083841"/>
                  </a:ext>
                </a:extLst>
              </a:tr>
              <a:tr h="106224">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320137196"/>
                  </a:ext>
                </a:extLst>
              </a:tr>
              <a:tr h="106224">
                <a:tc>
                  <a:txBody>
                    <a:bodyPr/>
                    <a:lstStyle/>
                    <a:p>
                      <a:pPr algn="l" fontAlgn="b"/>
                      <a:r>
                        <a:rPr lang="en-CA" sz="600" b="1" i="0" u="none" strike="noStrike">
                          <a:solidFill>
                            <a:srgbClr val="000000"/>
                          </a:solidFill>
                          <a:effectLst/>
                          <a:latin typeface="Arial" panose="020B0604020202020204" pitchFamily="34" charset="0"/>
                        </a:rPr>
                        <a:t>EBIT</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9.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9.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0.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3.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1.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7.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8.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4.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6.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84.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93.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00.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08.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4.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9.8</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82650658"/>
                  </a:ext>
                </a:extLst>
              </a:tr>
              <a:tr h="106224">
                <a:tc gridSpan="3">
                  <a:txBody>
                    <a:bodyPr/>
                    <a:lstStyle/>
                    <a:p>
                      <a:pPr algn="l" fontAlgn="b"/>
                      <a:r>
                        <a:rPr lang="en-CA" sz="600" b="0" i="0" u="none" strike="noStrike">
                          <a:solidFill>
                            <a:srgbClr val="000000"/>
                          </a:solidFill>
                          <a:effectLst/>
                          <a:latin typeface="Arial" panose="020B0604020202020204" pitchFamily="34" charset="0"/>
                        </a:rPr>
                        <a:t>   EBIT margin</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5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7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3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8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4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9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6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8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8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1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1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1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1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1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16%</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388691442"/>
                  </a:ext>
                </a:extLst>
              </a:tr>
              <a:tr h="106224">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417610804"/>
                  </a:ext>
                </a:extLst>
              </a:tr>
              <a:tr h="106224">
                <a:tc gridSpan="3">
                  <a:txBody>
                    <a:bodyPr/>
                    <a:lstStyle/>
                    <a:p>
                      <a:pPr algn="l" fontAlgn="b"/>
                      <a:r>
                        <a:rPr lang="en-CA" sz="600" b="1" i="0" u="none" strike="noStrike">
                          <a:solidFill>
                            <a:srgbClr val="000000"/>
                          </a:solidFill>
                          <a:effectLst/>
                          <a:latin typeface="Arial" panose="020B0604020202020204" pitchFamily="34" charset="0"/>
                        </a:rPr>
                        <a:t>Tax Expenses</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CA" sz="600" b="1"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8.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3.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8.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1.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4.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5.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6.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7.4</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95555802"/>
                  </a:ext>
                </a:extLst>
              </a:tr>
              <a:tr h="106224">
                <a:tc>
                  <a:txBody>
                    <a:bodyPr/>
                    <a:lstStyle/>
                    <a:p>
                      <a:pPr algn="l" fontAlgn="b"/>
                      <a:r>
                        <a:rPr lang="en-CA" sz="600" b="0" i="0" u="none" strike="noStrike">
                          <a:solidFill>
                            <a:srgbClr val="000000"/>
                          </a:solidFill>
                          <a:effectLst/>
                          <a:latin typeface="Arial" panose="020B0604020202020204" pitchFamily="34" charset="0"/>
                        </a:rPr>
                        <a:t>   Tax rate</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0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8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8.9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0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9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00%</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570504146"/>
                  </a:ext>
                </a:extLst>
              </a:tr>
              <a:tr h="106224">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197259568"/>
                  </a:ext>
                </a:extLst>
              </a:tr>
              <a:tr h="106224">
                <a:tc>
                  <a:txBody>
                    <a:bodyPr/>
                    <a:lstStyle/>
                    <a:p>
                      <a:pPr algn="l" fontAlgn="b"/>
                      <a:r>
                        <a:rPr lang="en-CA" sz="600" b="1" i="0" u="none" strike="noStrike">
                          <a:solidFill>
                            <a:srgbClr val="000000"/>
                          </a:solidFill>
                          <a:effectLst/>
                          <a:latin typeface="Arial" panose="020B0604020202020204" pitchFamily="34" charset="0"/>
                        </a:rPr>
                        <a:t>NOPAT</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1.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0.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5.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9.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2.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5.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4.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8.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8.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3.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0.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6.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2.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7.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82.5</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125396432"/>
                  </a:ext>
                </a:extLst>
              </a:tr>
              <a:tr h="106224">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gridSpan="2">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6275989"/>
                  </a:ext>
                </a:extLst>
              </a:tr>
              <a:tr h="106224">
                <a:tc gridSpan="3">
                  <a:txBody>
                    <a:bodyPr/>
                    <a:lstStyle/>
                    <a:p>
                      <a:pPr algn="l" fontAlgn="b"/>
                      <a:r>
                        <a:rPr lang="en-CA" sz="600" b="1" i="0" u="none" strike="noStrike">
                          <a:solidFill>
                            <a:srgbClr val="000000"/>
                          </a:solidFill>
                          <a:effectLst/>
                          <a:latin typeface="Arial" panose="020B0604020202020204" pitchFamily="34" charset="0"/>
                        </a:rPr>
                        <a:t>FFCF Calculations</a:t>
                      </a:r>
                    </a:p>
                  </a:txBody>
                  <a:tcPr marL="3856" marR="3856" marT="3856"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hMerge="1">
                  <a:txBody>
                    <a:bodyPr/>
                    <a:lstStyle/>
                    <a:p>
                      <a:endParaRPr lang="en-CA"/>
                    </a:p>
                  </a:txBody>
                  <a:tcPr/>
                </a:tc>
                <a:tc hMerge="1">
                  <a:txBody>
                    <a:bodyPr/>
                    <a:lstStyle/>
                    <a:p>
                      <a:pPr algn="l" fontAlgn="b"/>
                      <a:endParaRPr lang="en-CA" sz="600" b="1"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4289847838"/>
                  </a:ext>
                </a:extLst>
              </a:tr>
              <a:tr h="106224">
                <a:tc>
                  <a:txBody>
                    <a:bodyPr/>
                    <a:lstStyle/>
                    <a:p>
                      <a:pPr algn="l" fontAlgn="b"/>
                      <a:r>
                        <a:rPr lang="en-CA" sz="600" b="0" i="0" u="none" strike="noStrike">
                          <a:solidFill>
                            <a:srgbClr val="000000"/>
                          </a:solidFill>
                          <a:effectLst/>
                          <a:latin typeface="Arial" panose="020B0604020202020204" pitchFamily="34" charset="0"/>
                        </a:rPr>
                        <a:t>NOPAT</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1.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0.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5.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9.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2.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5.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4.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8.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8.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3.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0.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6.6918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2.6479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7.8921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82.46197</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87373628"/>
                  </a:ext>
                </a:extLst>
              </a:tr>
              <a:tr h="106224">
                <a:tc>
                  <a:txBody>
                    <a:bodyPr/>
                    <a:lstStyle/>
                    <a:p>
                      <a:pPr algn="l" fontAlgn="b"/>
                      <a:r>
                        <a:rPr lang="en-CA" sz="600" b="0" i="0" u="none" strike="noStrike">
                          <a:solidFill>
                            <a:srgbClr val="000000"/>
                          </a:solidFill>
                          <a:effectLst/>
                          <a:latin typeface="Arial" panose="020B0604020202020204" pitchFamily="34" charset="0"/>
                        </a:rPr>
                        <a:t>(-) CapEX</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1.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8.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0.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1.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2.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4.5</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721252772"/>
                  </a:ext>
                </a:extLst>
              </a:tr>
              <a:tr h="204134">
                <a:tc gridSpan="3">
                  <a:txBody>
                    <a:bodyPr/>
                    <a:lstStyle/>
                    <a:p>
                      <a:pPr algn="l" fontAlgn="b"/>
                      <a:r>
                        <a:rPr lang="en-CA" sz="600" b="0" i="0" u="none" strike="noStrike">
                          <a:solidFill>
                            <a:srgbClr val="000000"/>
                          </a:solidFill>
                          <a:effectLst/>
                          <a:latin typeface="Arial" panose="020B0604020202020204" pitchFamily="34" charset="0"/>
                        </a:rPr>
                        <a:t>CapEx as % of revenue</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7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8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5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8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9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5%</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107238448"/>
                  </a:ext>
                </a:extLst>
              </a:tr>
              <a:tr h="106224">
                <a:tc>
                  <a:txBody>
                    <a:bodyPr/>
                    <a:lstStyle/>
                    <a:p>
                      <a:pPr algn="l" fontAlgn="b"/>
                      <a:r>
                        <a:rPr lang="en-CA" sz="600" b="0" i="0" u="none" strike="noStrike">
                          <a:solidFill>
                            <a:srgbClr val="000000"/>
                          </a:solidFill>
                          <a:effectLst/>
                          <a:latin typeface="Arial" panose="020B0604020202020204" pitchFamily="34" charset="0"/>
                        </a:rPr>
                        <a:t>(+) D&amp;A</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8.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9.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2.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4.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7.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7.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8.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9.4</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356927254"/>
                  </a:ext>
                </a:extLst>
              </a:tr>
              <a:tr h="204134">
                <a:tc gridSpan="3">
                  <a:txBody>
                    <a:bodyPr/>
                    <a:lstStyle/>
                    <a:p>
                      <a:pPr algn="l" fontAlgn="b"/>
                      <a:r>
                        <a:rPr lang="en-US" sz="600" b="0" i="0" u="none" strike="noStrike">
                          <a:solidFill>
                            <a:srgbClr val="000000"/>
                          </a:solidFill>
                          <a:effectLst/>
                          <a:latin typeface="Arial" panose="020B0604020202020204" pitchFamily="34" charset="0"/>
                        </a:rPr>
                        <a:t>D&amp;A as % of revenue</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US" sz="600" b="0"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9%</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528343625"/>
                  </a:ext>
                </a:extLst>
              </a:tr>
              <a:tr h="106224">
                <a:tc gridSpan="3">
                  <a:txBody>
                    <a:bodyPr/>
                    <a:lstStyle/>
                    <a:p>
                      <a:pPr algn="l" fontAlgn="b"/>
                      <a:r>
                        <a:rPr lang="en-CA" sz="600" b="0" i="0" u="none" strike="noStrike">
                          <a:solidFill>
                            <a:srgbClr val="000000"/>
                          </a:solidFill>
                          <a:effectLst/>
                          <a:latin typeface="Arial" panose="020B0604020202020204" pitchFamily="34" charset="0"/>
                        </a:rPr>
                        <a:t>(-) Change in NWC</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3.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9.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8.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5.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1.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4.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3.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2.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4.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3.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3</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223180631"/>
                  </a:ext>
                </a:extLst>
              </a:tr>
              <a:tr h="204134">
                <a:tc gridSpan="4">
                  <a:txBody>
                    <a:bodyPr/>
                    <a:lstStyle/>
                    <a:p>
                      <a:pPr algn="l" fontAlgn="b"/>
                      <a:r>
                        <a:rPr lang="en-US" sz="600" b="0" i="0" u="none" strike="noStrike">
                          <a:solidFill>
                            <a:srgbClr val="000000"/>
                          </a:solidFill>
                          <a:effectLst/>
                          <a:latin typeface="Arial" panose="020B0604020202020204" pitchFamily="34" charset="0"/>
                        </a:rPr>
                        <a:t>Change in NWC as % of revenue</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endParaRPr lang="en-CA"/>
                    </a:p>
                  </a:txBody>
                  <a:tcPr/>
                </a:tc>
                <a:tc hMerge="1">
                  <a:txBody>
                    <a:bodyPr/>
                    <a:lstStyle/>
                    <a:p>
                      <a:endParaRPr lang="en-CA"/>
                    </a:p>
                  </a:txBody>
                  <a:tcPr/>
                </a:tc>
                <a:tc>
                  <a:txBody>
                    <a:bodyPr/>
                    <a:lstStyle/>
                    <a:p>
                      <a:pPr algn="r" fontAlgn="b"/>
                      <a:r>
                        <a:rPr lang="en-CA" sz="600" b="0" i="0" u="none" strike="noStrike">
                          <a:solidFill>
                            <a:srgbClr val="000000"/>
                          </a:solidFill>
                          <a:effectLst/>
                          <a:latin typeface="Arial" panose="020B0604020202020204" pitchFamily="34" charset="0"/>
                        </a:rPr>
                        <a:t>5.2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0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4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6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9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7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0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5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6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2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3%</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380221934"/>
                  </a:ext>
                </a:extLst>
              </a:tr>
              <a:tr h="106224">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923875952"/>
                  </a:ext>
                </a:extLst>
              </a:tr>
              <a:tr h="106224">
                <a:tc>
                  <a:txBody>
                    <a:bodyPr/>
                    <a:lstStyle/>
                    <a:p>
                      <a:pPr algn="l" fontAlgn="b"/>
                      <a:r>
                        <a:rPr lang="en-CA" sz="600" b="1" i="0" u="none" strike="noStrike">
                          <a:solidFill>
                            <a:srgbClr val="000000"/>
                          </a:solidFill>
                          <a:effectLst/>
                          <a:latin typeface="Arial" panose="020B0604020202020204" pitchFamily="34" charset="0"/>
                        </a:rPr>
                        <a:t>FCFF</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21.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44.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36.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58.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1.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78.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86.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91.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99.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03.7</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43460540"/>
                  </a:ext>
                </a:extLst>
              </a:tr>
              <a:tr h="106224">
                <a:tc>
                  <a:txBody>
                    <a:bodyPr/>
                    <a:lstStyle/>
                    <a:p>
                      <a:pPr algn="l" fontAlgn="b"/>
                      <a:r>
                        <a:rPr lang="en-CA" sz="600" b="0" i="0" u="none" strike="noStrike">
                          <a:solidFill>
                            <a:srgbClr val="000000"/>
                          </a:solidFill>
                          <a:effectLst/>
                          <a:latin typeface="Arial" panose="020B0604020202020204" pitchFamily="34" charset="0"/>
                        </a:rPr>
                        <a:t>WACC</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r" fontAlgn="b"/>
                      <a:r>
                        <a:rPr lang="en-CA" sz="600" b="1" i="0" u="none" strike="noStrike">
                          <a:solidFill>
                            <a:srgbClr val="FFFFFF"/>
                          </a:solidFill>
                          <a:effectLst/>
                          <a:latin typeface="Arial" panose="020B0604020202020204" pitchFamily="34" charset="0"/>
                        </a:rPr>
                        <a:t>8.18%</a:t>
                      </a:r>
                    </a:p>
                  </a:txBody>
                  <a:tcPr marL="3856" marR="3856" marT="3856" marB="0" anchor="b">
                    <a:lnL>
                      <a:noFill/>
                    </a:lnL>
                    <a:lnR>
                      <a:noFill/>
                    </a:lnR>
                    <a:lnT>
                      <a:noFill/>
                    </a:lnT>
                    <a:lnB>
                      <a:noFill/>
                    </a:lnB>
                    <a:solidFill>
                      <a:srgbClr val="0F3557"/>
                    </a:solidFill>
                  </a:tcPr>
                </a:tc>
                <a:tc hMerge="1">
                  <a:txBody>
                    <a:bodyPr/>
                    <a:lstStyle/>
                    <a:p>
                      <a:pPr algn="r" fontAlgn="b"/>
                      <a:endParaRPr lang="en-CA" sz="600" b="1" i="0" u="none" strike="noStrike">
                        <a:solidFill>
                          <a:srgbClr val="FFFFFF"/>
                        </a:solidFill>
                        <a:effectLst/>
                        <a:latin typeface="Arial" panose="020B0604020202020204" pitchFamily="34" charset="0"/>
                      </a:endParaRPr>
                    </a:p>
                  </a:txBody>
                  <a:tcPr marL="3856" marR="3856" marT="3856" marB="0" anchor="b">
                    <a:lnL>
                      <a:noFill/>
                    </a:lnL>
                    <a:lnR>
                      <a:noFill/>
                    </a:lnR>
                    <a:lnT>
                      <a:noFill/>
                    </a:lnT>
                    <a:lnB>
                      <a:noFill/>
                    </a:lnB>
                    <a:solidFill>
                      <a:srgbClr val="0F3557"/>
                    </a:solid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71606691"/>
                  </a:ext>
                </a:extLst>
              </a:tr>
              <a:tr h="106224">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gridSpan="2">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748587279"/>
                  </a:ext>
                </a:extLst>
              </a:tr>
              <a:tr h="106224">
                <a:tc gridSpan="3">
                  <a:txBody>
                    <a:bodyPr/>
                    <a:lstStyle/>
                    <a:p>
                      <a:pPr algn="l" fontAlgn="b"/>
                      <a:r>
                        <a:rPr lang="en-CA" sz="600" b="1" i="0" u="none" strike="noStrike">
                          <a:solidFill>
                            <a:srgbClr val="000000"/>
                          </a:solidFill>
                          <a:effectLst/>
                          <a:latin typeface="Arial" panose="020B0604020202020204" pitchFamily="34" charset="0"/>
                        </a:rPr>
                        <a:t>Discount Period</a:t>
                      </a: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hMerge="1">
                  <a:txBody>
                    <a:bodyPr/>
                    <a:lstStyle/>
                    <a:p>
                      <a:pPr algn="l" fontAlgn="b"/>
                      <a:endParaRPr lang="en-CA" sz="600" b="1" i="0" u="none" strike="noStrike">
                        <a:solidFill>
                          <a:srgbClr val="000000"/>
                        </a:solidFill>
                        <a:effectLst/>
                        <a:latin typeface="Arial" panose="020B0604020202020204" pitchFamily="34" charset="0"/>
                      </a:endParaRPr>
                    </a:p>
                  </a:txBody>
                  <a:tcPr marL="3856" marR="3856" marT="3856" marB="0" anchor="b">
                    <a:lnL w="12700" cap="flat" cmpd="sng" algn="ctr">
                      <a:noFill/>
                      <a:prstDash val="solid"/>
                      <a:round/>
                      <a:headEnd type="none" w="med" len="med"/>
                      <a:tailEnd type="none" w="med" len="med"/>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2</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6</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8</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9</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10</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985714576"/>
                  </a:ext>
                </a:extLst>
              </a:tr>
              <a:tr h="106224">
                <a:tc gridSpan="2">
                  <a:txBody>
                    <a:bodyPr/>
                    <a:lstStyle/>
                    <a:p>
                      <a:pPr algn="l" fontAlgn="b"/>
                      <a:endParaRPr lang="en-CA" sz="600" b="1" i="0" u="none" strike="noStrike">
                        <a:solidFill>
                          <a:srgbClr val="000000"/>
                        </a:solidFill>
                        <a:effectLst/>
                        <a:latin typeface="Arial" panose="020B0604020202020204" pitchFamily="34" charset="0"/>
                      </a:endParaRP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0.92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85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79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730</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675</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624</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577</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53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493</a:t>
                      </a:r>
                    </a:p>
                  </a:txBody>
                  <a:tcPr marL="3856" marR="3856" marT="3856" marB="0" anchor="b">
                    <a:lnL>
                      <a:noFill/>
                    </a:lnL>
                    <a:lnR>
                      <a:noFill/>
                    </a:lnR>
                    <a:lnT>
                      <a:noFill/>
                    </a:lnT>
                    <a:lnB>
                      <a:noFill/>
                    </a:lnB>
                    <a:noFill/>
                  </a:tcPr>
                </a:tc>
                <a:tc>
                  <a:txBody>
                    <a:bodyPr/>
                    <a:lstStyle/>
                    <a:p>
                      <a:pPr algn="r" fontAlgn="b"/>
                      <a:r>
                        <a:rPr lang="en-CA" sz="600" b="0" i="0" u="none" strike="noStrike">
                          <a:solidFill>
                            <a:srgbClr val="000000"/>
                          </a:solidFill>
                          <a:effectLst/>
                          <a:latin typeface="Arial" panose="020B0604020202020204" pitchFamily="34" charset="0"/>
                        </a:rPr>
                        <a:t>0.456</a:t>
                      </a: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000426126"/>
                  </a:ext>
                </a:extLst>
              </a:tr>
              <a:tr h="106224">
                <a:tc gridSpan="2">
                  <a:txBody>
                    <a:bodyPr/>
                    <a:lstStyle/>
                    <a:p>
                      <a:pPr algn="l" fontAlgn="b"/>
                      <a:endParaRPr lang="en-CA" sz="600" b="1" i="0" u="none" strike="noStrike">
                        <a:solidFill>
                          <a:srgbClr val="000000"/>
                        </a:solidFill>
                        <a:effectLst/>
                        <a:latin typeface="Arial" panose="020B0604020202020204" pitchFamily="34" charset="0"/>
                      </a:endParaRPr>
                    </a:p>
                  </a:txBody>
                  <a:tcPr marL="3856" marR="3856" marT="3856"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a:noFill/>
                    </a:lnB>
                    <a:solidFill>
                      <a:srgbClr val="D9D9D9"/>
                    </a:solid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a:noFill/>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927547999"/>
                  </a:ext>
                </a:extLst>
              </a:tr>
              <a:tr h="204134">
                <a:tc gridSpan="2">
                  <a:txBody>
                    <a:bodyPr/>
                    <a:lstStyle/>
                    <a:p>
                      <a:pPr algn="l" fontAlgn="b"/>
                      <a:r>
                        <a:rPr lang="en-CA" sz="600" b="1" i="0" u="none" strike="noStrike">
                          <a:solidFill>
                            <a:srgbClr val="000000"/>
                          </a:solidFill>
                          <a:effectLst/>
                          <a:latin typeface="Arial" panose="020B0604020202020204" pitchFamily="34" charset="0"/>
                        </a:rPr>
                        <a:t>PV of FCFF</a:t>
                      </a:r>
                    </a:p>
                  </a:txBody>
                  <a:tcPr marL="3856" marR="3856" marT="3856" marB="0"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hMerge="1">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endParaRPr lang="en-CA" sz="600" b="0" i="0" u="none" strike="noStrike">
                        <a:solidFill>
                          <a:srgbClr val="000000"/>
                        </a:solidFill>
                        <a:effectLst/>
                        <a:latin typeface="Arial" panose="020B0604020202020204" pitchFamily="34" charset="0"/>
                      </a:endParaRP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l" fontAlgn="b"/>
                      <a:r>
                        <a:rPr lang="en-CA" sz="600" b="0" i="0" u="none" strike="noStrike">
                          <a:solidFill>
                            <a:srgbClr val="000000"/>
                          </a:solidFill>
                          <a:effectLst/>
                          <a:latin typeface="Arial" panose="020B0604020202020204" pitchFamily="34" charset="0"/>
                        </a:rPr>
                        <a:t> </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solidFill>
                      <a:srgbClr val="D9D9D9"/>
                    </a:solidFill>
                  </a:tcPr>
                </a:tc>
                <a:tc>
                  <a:txBody>
                    <a:bodyPr/>
                    <a:lstStyle/>
                    <a:p>
                      <a:pPr algn="r" fontAlgn="b"/>
                      <a:r>
                        <a:rPr lang="en-CA" sz="600" b="0" i="0" u="none" strike="noStrike">
                          <a:solidFill>
                            <a:srgbClr val="000000"/>
                          </a:solidFill>
                          <a:effectLst/>
                          <a:latin typeface="Arial" panose="020B0604020202020204" pitchFamily="34" charset="0"/>
                        </a:rPr>
                        <a:t>111.9</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123.4</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108.2</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116.0</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115.9</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111.6</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107.8</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101.9</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98.3</a:t>
                      </a:r>
                    </a:p>
                  </a:txBody>
                  <a:tcPr marL="3856" marR="3856" marT="3856"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b"/>
                      <a:r>
                        <a:rPr lang="en-CA" sz="600" b="0" i="0" u="none" strike="noStrike">
                          <a:solidFill>
                            <a:srgbClr val="000000"/>
                          </a:solidFill>
                          <a:effectLst/>
                          <a:latin typeface="Arial" panose="020B0604020202020204" pitchFamily="34" charset="0"/>
                        </a:rPr>
                        <a:t>92.8</a:t>
                      </a:r>
                    </a:p>
                  </a:txBody>
                  <a:tcPr marL="3856" marR="3856" marT="3856"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6041231"/>
                  </a:ext>
                </a:extLst>
              </a:tr>
            </a:tbl>
          </a:graphicData>
        </a:graphic>
      </p:graphicFrame>
    </p:spTree>
    <p:extLst>
      <p:ext uri="{BB962C8B-B14F-4D97-AF65-F5344CB8AC3E}">
        <p14:creationId xmlns:p14="http://schemas.microsoft.com/office/powerpoint/2010/main" val="35686357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1E1C7-83C2-E86C-31B9-8C01E54942A3}"/>
            </a:ext>
          </a:extLst>
        </p:cNvPr>
        <p:cNvGrpSpPr/>
        <p:nvPr/>
      </p:nvGrpSpPr>
      <p:grpSpPr>
        <a:xfrm>
          <a:off x="0" y="0"/>
          <a:ext cx="0" cy="0"/>
          <a:chOff x="0" y="0"/>
          <a:chExt cx="0" cy="0"/>
        </a:xfrm>
      </p:grpSpPr>
      <p:sp>
        <p:nvSpPr>
          <p:cNvPr id="16" name="Text Placeholder 15">
            <a:extLst>
              <a:ext uri="{FF2B5EF4-FFF2-40B4-BE49-F238E27FC236}">
                <a16:creationId xmlns:a16="http://schemas.microsoft.com/office/drawing/2014/main" id="{A7A3679A-8E98-2FCC-E118-46E0908E68A6}"/>
              </a:ext>
            </a:extLst>
          </p:cNvPr>
          <p:cNvSpPr>
            <a:spLocks noGrp="1"/>
          </p:cNvSpPr>
          <p:nvPr>
            <p:ph type="body" sz="quarter" idx="13"/>
          </p:nvPr>
        </p:nvSpPr>
        <p:spPr/>
        <p:txBody>
          <a:bodyPr/>
          <a:lstStyle/>
          <a:p>
            <a:r>
              <a:rPr lang="en-US"/>
              <a:t>Source(s): Bloomberg, Capital IQ, </a:t>
            </a:r>
            <a:r>
              <a:rPr lang="en-US" err="1"/>
              <a:t>Addus</a:t>
            </a:r>
            <a:r>
              <a:rPr lang="en-US"/>
              <a:t> 10-k</a:t>
            </a:r>
            <a:endParaRPr lang="en-CA"/>
          </a:p>
        </p:txBody>
      </p:sp>
      <p:sp>
        <p:nvSpPr>
          <p:cNvPr id="17" name="Text Placeholder 16">
            <a:extLst>
              <a:ext uri="{FF2B5EF4-FFF2-40B4-BE49-F238E27FC236}">
                <a16:creationId xmlns:a16="http://schemas.microsoft.com/office/drawing/2014/main" id="{52910206-2ADF-A0B6-735C-F92F84BD866C}"/>
              </a:ext>
            </a:extLst>
          </p:cNvPr>
          <p:cNvSpPr>
            <a:spLocks noGrp="1"/>
          </p:cNvSpPr>
          <p:nvPr>
            <p:ph type="body" sz="quarter" idx="21"/>
          </p:nvPr>
        </p:nvSpPr>
        <p:spPr/>
        <p:txBody>
          <a:bodyPr/>
          <a:lstStyle/>
          <a:p>
            <a:r>
              <a:rPr lang="en-CA"/>
              <a:t>Base case</a:t>
            </a:r>
          </a:p>
        </p:txBody>
      </p:sp>
      <p:sp>
        <p:nvSpPr>
          <p:cNvPr id="7" name="Title 6">
            <a:extLst>
              <a:ext uri="{FF2B5EF4-FFF2-40B4-BE49-F238E27FC236}">
                <a16:creationId xmlns:a16="http://schemas.microsoft.com/office/drawing/2014/main" id="{D70DBC4B-C0DF-144A-7AD6-5817DB597E61}"/>
              </a:ext>
            </a:extLst>
          </p:cNvPr>
          <p:cNvSpPr>
            <a:spLocks noGrp="1"/>
          </p:cNvSpPr>
          <p:nvPr>
            <p:ph type="title"/>
          </p:nvPr>
        </p:nvSpPr>
        <p:spPr/>
        <p:txBody>
          <a:bodyPr/>
          <a:lstStyle/>
          <a:p>
            <a:r>
              <a:rPr lang="en-CA"/>
              <a:t>Discounted Cash Flow Analysis Insights</a:t>
            </a:r>
          </a:p>
        </p:txBody>
      </p:sp>
      <p:sp>
        <p:nvSpPr>
          <p:cNvPr id="10" name="Text Placeholder 9">
            <a:extLst>
              <a:ext uri="{FF2B5EF4-FFF2-40B4-BE49-F238E27FC236}">
                <a16:creationId xmlns:a16="http://schemas.microsoft.com/office/drawing/2014/main" id="{30F5E092-F5AA-5CE3-497A-5E3ECDD15F1A}"/>
              </a:ext>
            </a:extLst>
          </p:cNvPr>
          <p:cNvSpPr>
            <a:spLocks noGrp="1"/>
          </p:cNvSpPr>
          <p:nvPr>
            <p:ph type="body" idx="22"/>
          </p:nvPr>
        </p:nvSpPr>
        <p:spPr/>
        <p:txBody>
          <a:bodyPr/>
          <a:lstStyle/>
          <a:p>
            <a:r>
              <a:rPr lang="en-CA"/>
              <a:t>Weighted Average Cost of Capital Calculations</a:t>
            </a:r>
          </a:p>
        </p:txBody>
      </p:sp>
      <p:sp>
        <p:nvSpPr>
          <p:cNvPr id="12" name="Text Placeholder 11">
            <a:extLst>
              <a:ext uri="{FF2B5EF4-FFF2-40B4-BE49-F238E27FC236}">
                <a16:creationId xmlns:a16="http://schemas.microsoft.com/office/drawing/2014/main" id="{DCD3F8FC-03BF-3213-3D8B-B4AD7191FA20}"/>
              </a:ext>
            </a:extLst>
          </p:cNvPr>
          <p:cNvSpPr>
            <a:spLocks noGrp="1"/>
          </p:cNvSpPr>
          <p:nvPr>
            <p:ph type="body" idx="26"/>
          </p:nvPr>
        </p:nvSpPr>
        <p:spPr/>
        <p:txBody>
          <a:bodyPr/>
          <a:lstStyle/>
          <a:p>
            <a:r>
              <a:rPr lang="en-CA"/>
              <a:t>Discounted Cash Flow Analysis Borrowing Spread</a:t>
            </a:r>
          </a:p>
        </p:txBody>
      </p:sp>
      <p:graphicFrame>
        <p:nvGraphicFramePr>
          <p:cNvPr id="20" name="Table 19">
            <a:extLst>
              <a:ext uri="{FF2B5EF4-FFF2-40B4-BE49-F238E27FC236}">
                <a16:creationId xmlns:a16="http://schemas.microsoft.com/office/drawing/2014/main" id="{06AA7240-8F07-5155-393C-44CE3570882E}"/>
              </a:ext>
            </a:extLst>
          </p:cNvPr>
          <p:cNvGraphicFramePr>
            <a:graphicFrameLocks noGrp="1"/>
          </p:cNvGraphicFramePr>
          <p:nvPr>
            <p:extLst>
              <p:ext uri="{D42A27DB-BD31-4B8C-83A1-F6EECF244321}">
                <p14:modId xmlns:p14="http://schemas.microsoft.com/office/powerpoint/2010/main" val="4261209158"/>
              </p:ext>
            </p:extLst>
          </p:nvPr>
        </p:nvGraphicFramePr>
        <p:xfrm>
          <a:off x="4751391" y="1401734"/>
          <a:ext cx="4141786" cy="4661786"/>
        </p:xfrm>
        <a:graphic>
          <a:graphicData uri="http://schemas.openxmlformats.org/drawingml/2006/table">
            <a:tbl>
              <a:tblPr/>
              <a:tblGrid>
                <a:gridCol w="2942355">
                  <a:extLst>
                    <a:ext uri="{9D8B030D-6E8A-4147-A177-3AD203B41FA5}">
                      <a16:colId xmlns:a16="http://schemas.microsoft.com/office/drawing/2014/main" val="3040447718"/>
                    </a:ext>
                  </a:extLst>
                </a:gridCol>
                <a:gridCol w="1199431">
                  <a:extLst>
                    <a:ext uri="{9D8B030D-6E8A-4147-A177-3AD203B41FA5}">
                      <a16:colId xmlns:a16="http://schemas.microsoft.com/office/drawing/2014/main" val="2116807956"/>
                    </a:ext>
                  </a:extLst>
                </a:gridCol>
              </a:tblGrid>
              <a:tr h="231930">
                <a:tc>
                  <a:txBody>
                    <a:bodyPr/>
                    <a:lstStyle/>
                    <a:p>
                      <a:pPr algn="l" fontAlgn="ctr"/>
                      <a:r>
                        <a:rPr lang="en-US" sz="900" b="1" i="0" u="none" strike="noStrike">
                          <a:solidFill>
                            <a:srgbClr val="FFFFFF"/>
                          </a:solidFill>
                          <a:effectLst/>
                          <a:latin typeface="Arial" panose="020B0604020202020204" pitchFamily="34" charset="0"/>
                        </a:rPr>
                        <a:t>Weighted Average Cost of Capital</a:t>
                      </a: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0F3557"/>
                    </a:solidFill>
                  </a:tcPr>
                </a:tc>
                <a:tc>
                  <a:txBody>
                    <a:bodyPr/>
                    <a:lstStyle/>
                    <a:p>
                      <a:pPr algn="l" fontAlgn="ctr"/>
                      <a:r>
                        <a:rPr lang="en-CA" sz="900" b="1" i="0" u="none" strike="noStrike">
                          <a:solidFill>
                            <a:srgbClr val="FFFFFF"/>
                          </a:solidFill>
                          <a:effectLst/>
                          <a:latin typeface="Arial" panose="020B0604020202020204" pitchFamily="34" charset="0"/>
                        </a:rPr>
                        <a:t> </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F3557"/>
                    </a:solidFill>
                  </a:tcPr>
                </a:tc>
                <a:extLst>
                  <a:ext uri="{0D108BD9-81ED-4DB2-BD59-A6C34878D82A}">
                    <a16:rowId xmlns:a16="http://schemas.microsoft.com/office/drawing/2014/main" val="3671767661"/>
                  </a:ext>
                </a:extLst>
              </a:tr>
              <a:tr h="217811">
                <a:tc>
                  <a:txBody>
                    <a:bodyPr/>
                    <a:lstStyle/>
                    <a:p>
                      <a:pPr algn="l" fontAlgn="b"/>
                      <a:endParaRPr lang="en-CA" sz="900" b="0" i="0" u="none" strike="noStrike">
                        <a:solidFill>
                          <a:srgbClr val="000000"/>
                        </a:solidFill>
                        <a:effectLst/>
                        <a:latin typeface="Arial" panose="020B0604020202020204" pitchFamily="34" charset="0"/>
                      </a:endParaRP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042692427"/>
                  </a:ext>
                </a:extLst>
              </a:tr>
              <a:tr h="231930">
                <a:tc gridSpan="2">
                  <a:txBody>
                    <a:bodyPr/>
                    <a:lstStyle/>
                    <a:p>
                      <a:pPr algn="l" fontAlgn="b"/>
                      <a:r>
                        <a:rPr lang="en-CA" sz="900" b="1" i="0" u="none" strike="noStrike">
                          <a:solidFill>
                            <a:srgbClr val="000000"/>
                          </a:solidFill>
                          <a:effectLst/>
                          <a:latin typeface="Arial" panose="020B0604020202020204" pitchFamily="34" charset="0"/>
                        </a:rPr>
                        <a:t>Cost of Capital Assumption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hMerge="1">
                  <a:txBody>
                    <a:bodyPr/>
                    <a:lstStyle/>
                    <a:p>
                      <a:endParaRPr lang="en-CA"/>
                    </a:p>
                  </a:txBody>
                  <a:tcPr/>
                </a:tc>
                <a:extLst>
                  <a:ext uri="{0D108BD9-81ED-4DB2-BD59-A6C34878D82A}">
                    <a16:rowId xmlns:a16="http://schemas.microsoft.com/office/drawing/2014/main" val="3876165831"/>
                  </a:ext>
                </a:extLst>
              </a:tr>
              <a:tr h="231930">
                <a:tc>
                  <a:txBody>
                    <a:bodyPr/>
                    <a:lstStyle/>
                    <a:p>
                      <a:pPr algn="l" fontAlgn="b"/>
                      <a:r>
                        <a:rPr lang="en-CA" sz="900" b="0" i="0" u="none" strike="noStrike">
                          <a:solidFill>
                            <a:srgbClr val="000000"/>
                          </a:solidFill>
                          <a:effectLst/>
                          <a:latin typeface="Arial" panose="020B0604020202020204" pitchFamily="34" charset="0"/>
                        </a:rPr>
                        <a:t>Risk Free Rate</a:t>
                      </a:r>
                    </a:p>
                  </a:txBody>
                  <a:tcPr marL="0" marR="0" marT="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900" b="1" i="0" u="none" strike="noStrike">
                          <a:solidFill>
                            <a:schemeClr val="tx1"/>
                          </a:solidFill>
                          <a:effectLst/>
                          <a:latin typeface="Arial" panose="020B0604020202020204" pitchFamily="34" charset="0"/>
                        </a:rPr>
                        <a:t>4.41%</a:t>
                      </a:r>
                    </a:p>
                  </a:txBody>
                  <a:tcPr marL="0" marR="0" marT="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4159196946"/>
                  </a:ext>
                </a:extLst>
              </a:tr>
              <a:tr h="231930">
                <a:tc>
                  <a:txBody>
                    <a:bodyPr/>
                    <a:lstStyle/>
                    <a:p>
                      <a:pPr algn="l" fontAlgn="b"/>
                      <a:r>
                        <a:rPr lang="en-CA" sz="900" b="0" i="0" u="none" strike="noStrike">
                          <a:solidFill>
                            <a:srgbClr val="000000"/>
                          </a:solidFill>
                          <a:effectLst/>
                          <a:latin typeface="Arial" panose="020B0604020202020204" pitchFamily="34" charset="0"/>
                        </a:rPr>
                        <a:t>Borrowing Spread</a:t>
                      </a: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900" b="1" i="0" u="none" strike="noStrike">
                          <a:solidFill>
                            <a:schemeClr val="tx1"/>
                          </a:solidFill>
                          <a:effectLst/>
                          <a:latin typeface="Arial" panose="020B0604020202020204" pitchFamily="34" charset="0"/>
                        </a:rPr>
                        <a:t>0.70%</a:t>
                      </a: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52759653"/>
                  </a:ext>
                </a:extLst>
              </a:tr>
              <a:tr h="231930">
                <a:tc>
                  <a:txBody>
                    <a:bodyPr/>
                    <a:lstStyle/>
                    <a:p>
                      <a:pPr algn="l" fontAlgn="b"/>
                      <a:r>
                        <a:rPr lang="en-CA" sz="900" b="0" i="0" u="none" strike="noStrike">
                          <a:solidFill>
                            <a:srgbClr val="000000"/>
                          </a:solidFill>
                          <a:effectLst/>
                          <a:latin typeface="Arial" panose="020B0604020202020204" pitchFamily="34" charset="0"/>
                        </a:rPr>
                        <a:t>Cost of Debt</a:t>
                      </a: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900" b="1" i="0" u="none" strike="noStrike">
                          <a:solidFill>
                            <a:schemeClr val="tx1"/>
                          </a:solidFill>
                          <a:effectLst/>
                          <a:latin typeface="Arial" panose="020B0604020202020204" pitchFamily="34" charset="0"/>
                        </a:rPr>
                        <a:t>5.11%</a:t>
                      </a: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491118572"/>
                  </a:ext>
                </a:extLst>
              </a:tr>
              <a:tr h="231930">
                <a:tc>
                  <a:txBody>
                    <a:bodyPr/>
                    <a:lstStyle/>
                    <a:p>
                      <a:pPr algn="l" fontAlgn="b"/>
                      <a:r>
                        <a:rPr lang="en-CA" sz="900" b="0" i="0" u="none" strike="noStrike">
                          <a:solidFill>
                            <a:srgbClr val="000000"/>
                          </a:solidFill>
                          <a:effectLst/>
                          <a:latin typeface="Arial" panose="020B0604020202020204" pitchFamily="34" charset="0"/>
                        </a:rPr>
                        <a:t>Tax Rate</a:t>
                      </a: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900" b="1" i="0" u="none" strike="noStrike">
                          <a:solidFill>
                            <a:schemeClr val="tx1"/>
                          </a:solidFill>
                          <a:effectLst/>
                          <a:latin typeface="Arial" panose="020B0604020202020204" pitchFamily="34" charset="0"/>
                        </a:rPr>
                        <a:t>17.00%</a:t>
                      </a: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853614614"/>
                  </a:ext>
                </a:extLst>
              </a:tr>
              <a:tr h="231930">
                <a:tc>
                  <a:txBody>
                    <a:bodyPr/>
                    <a:lstStyle/>
                    <a:p>
                      <a:pPr algn="l" fontAlgn="b"/>
                      <a:r>
                        <a:rPr lang="en-CA" sz="900" b="0" i="0" u="none" strike="noStrike">
                          <a:solidFill>
                            <a:srgbClr val="000000"/>
                          </a:solidFill>
                          <a:effectLst/>
                          <a:latin typeface="Arial" panose="020B0604020202020204" pitchFamily="34" charset="0"/>
                        </a:rPr>
                        <a:t>After-Tax Cost of Debt</a:t>
                      </a: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900" b="1" i="0" u="none" strike="noStrike">
                          <a:solidFill>
                            <a:schemeClr val="tx1"/>
                          </a:solidFill>
                          <a:effectLst/>
                          <a:latin typeface="Arial" panose="020B0604020202020204" pitchFamily="34" charset="0"/>
                        </a:rPr>
                        <a:t>4.24%</a:t>
                      </a: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182582848"/>
                  </a:ext>
                </a:extLst>
              </a:tr>
              <a:tr h="217811">
                <a:tc>
                  <a:txBody>
                    <a:bodyPr/>
                    <a:lstStyle/>
                    <a:p>
                      <a:pPr algn="l" fontAlgn="b"/>
                      <a:endParaRPr lang="en-CA" sz="900" b="0" i="0" u="none" strike="noStrike">
                        <a:solidFill>
                          <a:srgbClr val="000000"/>
                        </a:solidFill>
                        <a:effectLst/>
                        <a:latin typeface="Arial" panose="020B0604020202020204" pitchFamily="34" charset="0"/>
                      </a:endParaRP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1" i="0" u="none" strike="noStrike">
                        <a:solidFill>
                          <a:schemeClr val="tx1"/>
                        </a:solidFill>
                        <a:effectLst/>
                        <a:latin typeface="Arial" panose="020B0604020202020204" pitchFamily="34" charset="0"/>
                      </a:endParaRP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356938895"/>
                  </a:ext>
                </a:extLst>
              </a:tr>
              <a:tr h="231930">
                <a:tc>
                  <a:txBody>
                    <a:bodyPr/>
                    <a:lstStyle/>
                    <a:p>
                      <a:pPr algn="l" fontAlgn="b"/>
                      <a:r>
                        <a:rPr lang="en-CA" sz="900" b="0" i="0" u="none" strike="noStrike">
                          <a:solidFill>
                            <a:srgbClr val="000000"/>
                          </a:solidFill>
                          <a:effectLst/>
                          <a:latin typeface="Arial" panose="020B0604020202020204" pitchFamily="34" charset="0"/>
                        </a:rPr>
                        <a:t>Risk Free Rate</a:t>
                      </a: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900" b="1" i="0" u="none" strike="noStrike">
                          <a:solidFill>
                            <a:schemeClr val="tx1"/>
                          </a:solidFill>
                          <a:effectLst/>
                          <a:latin typeface="Arial" panose="020B0604020202020204" pitchFamily="34" charset="0"/>
                        </a:rPr>
                        <a:t>4.41%</a:t>
                      </a: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937187796"/>
                  </a:ext>
                </a:extLst>
              </a:tr>
              <a:tr h="231930">
                <a:tc>
                  <a:txBody>
                    <a:bodyPr/>
                    <a:lstStyle/>
                    <a:p>
                      <a:pPr algn="l" fontAlgn="b"/>
                      <a:r>
                        <a:rPr lang="en-CA" sz="900" b="0" i="0" u="none" strike="noStrike">
                          <a:solidFill>
                            <a:srgbClr val="000000"/>
                          </a:solidFill>
                          <a:effectLst/>
                          <a:latin typeface="Arial" panose="020B0604020202020204" pitchFamily="34" charset="0"/>
                        </a:rPr>
                        <a:t>Beta</a:t>
                      </a: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900" b="1" i="0" u="none" strike="noStrike">
                          <a:solidFill>
                            <a:schemeClr val="tx1"/>
                          </a:solidFill>
                          <a:effectLst/>
                          <a:latin typeface="Arial" panose="020B0604020202020204" pitchFamily="34" charset="0"/>
                        </a:rPr>
                        <a:t>1.05</a:t>
                      </a: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562768613"/>
                  </a:ext>
                </a:extLst>
              </a:tr>
              <a:tr h="292432">
                <a:tc>
                  <a:txBody>
                    <a:bodyPr/>
                    <a:lstStyle/>
                    <a:p>
                      <a:pPr algn="l" fontAlgn="b"/>
                      <a:r>
                        <a:rPr lang="en-CA" sz="900" b="0" i="0" u="none" strike="noStrike">
                          <a:solidFill>
                            <a:srgbClr val="000000"/>
                          </a:solidFill>
                          <a:effectLst/>
                          <a:latin typeface="Arial" panose="020B0604020202020204" pitchFamily="34" charset="0"/>
                        </a:rPr>
                        <a:t>Market Risk Premium</a:t>
                      </a: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900" b="1" i="0" u="none" strike="noStrike">
                          <a:solidFill>
                            <a:schemeClr val="tx1"/>
                          </a:solidFill>
                          <a:effectLst/>
                          <a:latin typeface="Arial" panose="020B0604020202020204" pitchFamily="34" charset="0"/>
                        </a:rPr>
                        <a:t>4.04%</a:t>
                      </a: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522697883"/>
                  </a:ext>
                </a:extLst>
              </a:tr>
              <a:tr h="231930">
                <a:tc>
                  <a:txBody>
                    <a:bodyPr/>
                    <a:lstStyle/>
                    <a:p>
                      <a:pPr algn="l" fontAlgn="b"/>
                      <a:r>
                        <a:rPr lang="en-CA" sz="900" b="0" i="0" u="none" strike="noStrike">
                          <a:solidFill>
                            <a:srgbClr val="000000"/>
                          </a:solidFill>
                          <a:effectLst/>
                          <a:latin typeface="Arial" panose="020B0604020202020204" pitchFamily="34" charset="0"/>
                        </a:rPr>
                        <a:t>Cost of Equity</a:t>
                      </a: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900" b="1" i="0" u="none" strike="noStrike">
                          <a:solidFill>
                            <a:schemeClr val="tx1"/>
                          </a:solidFill>
                          <a:effectLst/>
                          <a:latin typeface="Arial" panose="020B0604020202020204" pitchFamily="34" charset="0"/>
                        </a:rPr>
                        <a:t>8.64%</a:t>
                      </a: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923273977"/>
                  </a:ext>
                </a:extLst>
              </a:tr>
              <a:tr h="217811">
                <a:tc>
                  <a:txBody>
                    <a:bodyPr/>
                    <a:lstStyle/>
                    <a:p>
                      <a:pPr algn="l" fontAlgn="b"/>
                      <a:endParaRPr lang="en-CA" sz="900" b="0" i="0" u="none" strike="noStrike">
                        <a:solidFill>
                          <a:srgbClr val="000000"/>
                        </a:solidFill>
                        <a:effectLst/>
                        <a:latin typeface="Arial" panose="020B0604020202020204" pitchFamily="34" charset="0"/>
                      </a:endParaRP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chemeClr val="tx1"/>
                        </a:solidFill>
                        <a:effectLst/>
                        <a:latin typeface="Arial" panose="020B0604020202020204" pitchFamily="34" charset="0"/>
                      </a:endParaRP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76557520"/>
                  </a:ext>
                </a:extLst>
              </a:tr>
              <a:tr h="231930">
                <a:tc>
                  <a:txBody>
                    <a:bodyPr/>
                    <a:lstStyle/>
                    <a:p>
                      <a:pPr algn="l" fontAlgn="b"/>
                      <a:r>
                        <a:rPr lang="en-CA" sz="900" b="1" i="0" u="none" strike="noStrike">
                          <a:solidFill>
                            <a:srgbClr val="000000"/>
                          </a:solidFill>
                          <a:effectLst/>
                          <a:latin typeface="Arial" panose="020B0604020202020204" pitchFamily="34" charset="0"/>
                        </a:rPr>
                        <a:t>Capital Weights</a:t>
                      </a:r>
                    </a:p>
                  </a:txBody>
                  <a:tcPr marL="0" marR="0" marT="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900" b="0" i="0" u="none" strike="noStrike">
                          <a:solidFill>
                            <a:schemeClr val="tx1"/>
                          </a:solidFill>
                          <a:effectLst/>
                          <a:latin typeface="Arial" panose="020B0604020202020204" pitchFamily="34" charset="0"/>
                        </a:rPr>
                        <a:t> </a:t>
                      </a:r>
                    </a:p>
                  </a:txBody>
                  <a:tcPr marL="0" marR="0" marT="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2149964"/>
                  </a:ext>
                </a:extLst>
              </a:tr>
              <a:tr h="231930">
                <a:tc>
                  <a:txBody>
                    <a:bodyPr/>
                    <a:lstStyle/>
                    <a:p>
                      <a:pPr algn="l" fontAlgn="b"/>
                      <a:endParaRPr lang="en-CA" sz="900" b="0" i="0" u="none" strike="noStrike">
                        <a:solidFill>
                          <a:srgbClr val="000000"/>
                        </a:solidFill>
                        <a:effectLst/>
                        <a:latin typeface="Arial" panose="020B0604020202020204" pitchFamily="34" charset="0"/>
                      </a:endParaRPr>
                    </a:p>
                  </a:txBody>
                  <a:tcPr marL="0" marR="0" marT="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CA" sz="900" b="0" i="0" u="none" strike="noStrike">
                          <a:solidFill>
                            <a:schemeClr val="tx1"/>
                          </a:solidFill>
                          <a:effectLst/>
                          <a:latin typeface="Arial" panose="020B0604020202020204" pitchFamily="34" charset="0"/>
                        </a:rPr>
                        <a:t>% of Total</a:t>
                      </a:r>
                    </a:p>
                  </a:txBody>
                  <a:tcPr marL="0" marR="0" marT="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36454474"/>
                  </a:ext>
                </a:extLst>
              </a:tr>
              <a:tr h="231930">
                <a:tc>
                  <a:txBody>
                    <a:bodyPr/>
                    <a:lstStyle/>
                    <a:p>
                      <a:pPr algn="l" fontAlgn="b"/>
                      <a:r>
                        <a:rPr lang="en-CA" sz="900" b="0" i="0" u="none" strike="noStrike">
                          <a:solidFill>
                            <a:srgbClr val="000000"/>
                          </a:solidFill>
                          <a:effectLst/>
                          <a:latin typeface="Arial" panose="020B0604020202020204" pitchFamily="34" charset="0"/>
                        </a:rPr>
                        <a:t>Equity</a:t>
                      </a: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900" b="1" i="0" u="none" strike="noStrike">
                          <a:solidFill>
                            <a:schemeClr val="tx1"/>
                          </a:solidFill>
                          <a:effectLst/>
                          <a:latin typeface="Arial" panose="020B0604020202020204" pitchFamily="34" charset="0"/>
                        </a:rPr>
                        <a:t>89.36%</a:t>
                      </a: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308286732"/>
                  </a:ext>
                </a:extLst>
              </a:tr>
              <a:tr h="231930">
                <a:tc>
                  <a:txBody>
                    <a:bodyPr/>
                    <a:lstStyle/>
                    <a:p>
                      <a:pPr algn="l" fontAlgn="b"/>
                      <a:r>
                        <a:rPr lang="en-CA" sz="900" b="0" i="0" u="none" strike="noStrike">
                          <a:solidFill>
                            <a:srgbClr val="000000"/>
                          </a:solidFill>
                          <a:effectLst/>
                          <a:latin typeface="Arial" panose="020B0604020202020204" pitchFamily="34" charset="0"/>
                        </a:rPr>
                        <a:t>Debt</a:t>
                      </a:r>
                    </a:p>
                  </a:txBody>
                  <a:tcPr marL="0" marR="0" marT="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r" fontAlgn="b"/>
                      <a:r>
                        <a:rPr lang="en-CA" sz="900" b="1" i="0" u="none" strike="noStrike">
                          <a:solidFill>
                            <a:schemeClr val="tx1"/>
                          </a:solidFill>
                          <a:effectLst/>
                          <a:latin typeface="Arial" panose="020B0604020202020204" pitchFamily="34" charset="0"/>
                        </a:rPr>
                        <a:t>10.64%</a:t>
                      </a:r>
                    </a:p>
                  </a:txBody>
                  <a:tcPr marL="0" marR="0" marT="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420548387"/>
                  </a:ext>
                </a:extLst>
              </a:tr>
              <a:tr h="226888">
                <a:tc>
                  <a:txBody>
                    <a:bodyPr/>
                    <a:lstStyle/>
                    <a:p>
                      <a:pPr algn="l" fontAlgn="b"/>
                      <a:endParaRPr lang="en-CA" sz="900" b="0" i="0" u="none" strike="noStrike">
                        <a:solidFill>
                          <a:srgbClr val="000000"/>
                        </a:solidFill>
                        <a:effectLst/>
                        <a:latin typeface="Arial" panose="020B0604020202020204" pitchFamily="34" charset="0"/>
                      </a:endParaRPr>
                    </a:p>
                  </a:txBody>
                  <a:tcPr marL="0" marR="0" marT="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chemeClr val="tx1"/>
                        </a:solidFill>
                        <a:effectLst/>
                        <a:latin typeface="Arial" panose="020B0604020202020204" pitchFamily="34" charset="0"/>
                      </a:endParaRPr>
                    </a:p>
                  </a:txBody>
                  <a:tcPr marL="0" marR="0" marT="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9503983"/>
                  </a:ext>
                </a:extLst>
              </a:tr>
              <a:tr h="242013">
                <a:tc>
                  <a:txBody>
                    <a:bodyPr/>
                    <a:lstStyle/>
                    <a:p>
                      <a:pPr algn="l" fontAlgn="b"/>
                      <a:r>
                        <a:rPr lang="en-CA" sz="900" b="1" i="0" u="none" strike="noStrike">
                          <a:solidFill>
                            <a:srgbClr val="000000"/>
                          </a:solidFill>
                          <a:effectLst/>
                          <a:latin typeface="Arial" panose="020B0604020202020204" pitchFamily="34" charset="0"/>
                        </a:rPr>
                        <a:t>WACC</a:t>
                      </a:r>
                    </a:p>
                  </a:txBody>
                  <a:tcPr marL="0" marR="0" marT="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CA" sz="900" b="1" i="0" u="none" strike="noStrike">
                          <a:solidFill>
                            <a:schemeClr val="tx1"/>
                          </a:solidFill>
                          <a:effectLst/>
                          <a:latin typeface="Arial" panose="020B0604020202020204" pitchFamily="34" charset="0"/>
                        </a:rPr>
                        <a:t>8.18%</a:t>
                      </a:r>
                    </a:p>
                  </a:txBody>
                  <a:tcPr marL="0" marR="0" marT="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6676006"/>
                  </a:ext>
                </a:extLst>
              </a:tr>
            </a:tbl>
          </a:graphicData>
        </a:graphic>
      </p:graphicFrame>
      <p:graphicFrame>
        <p:nvGraphicFramePr>
          <p:cNvPr id="26" name="Table Placeholder 10">
            <a:extLst>
              <a:ext uri="{FF2B5EF4-FFF2-40B4-BE49-F238E27FC236}">
                <a16:creationId xmlns:a16="http://schemas.microsoft.com/office/drawing/2014/main" id="{93A03B1F-A4D5-D753-82A3-6D3577E12DE9}"/>
              </a:ext>
            </a:extLst>
          </p:cNvPr>
          <p:cNvGraphicFramePr>
            <a:graphicFrameLocks/>
          </p:cNvGraphicFramePr>
          <p:nvPr>
            <p:extLst>
              <p:ext uri="{D42A27DB-BD31-4B8C-83A1-F6EECF244321}">
                <p14:modId xmlns:p14="http://schemas.microsoft.com/office/powerpoint/2010/main" val="827269278"/>
              </p:ext>
            </p:extLst>
          </p:nvPr>
        </p:nvGraphicFramePr>
        <p:xfrm>
          <a:off x="250820" y="1431714"/>
          <a:ext cx="4141786" cy="3175879"/>
        </p:xfrm>
        <a:graphic>
          <a:graphicData uri="http://schemas.openxmlformats.org/drawingml/2006/table">
            <a:tbl>
              <a:tblPr/>
              <a:tblGrid>
                <a:gridCol w="763733">
                  <a:extLst>
                    <a:ext uri="{9D8B030D-6E8A-4147-A177-3AD203B41FA5}">
                      <a16:colId xmlns:a16="http://schemas.microsoft.com/office/drawing/2014/main" val="694096066"/>
                    </a:ext>
                  </a:extLst>
                </a:gridCol>
                <a:gridCol w="949771">
                  <a:extLst>
                    <a:ext uri="{9D8B030D-6E8A-4147-A177-3AD203B41FA5}">
                      <a16:colId xmlns:a16="http://schemas.microsoft.com/office/drawing/2014/main" val="3077068108"/>
                    </a:ext>
                  </a:extLst>
                </a:gridCol>
                <a:gridCol w="1272890">
                  <a:extLst>
                    <a:ext uri="{9D8B030D-6E8A-4147-A177-3AD203B41FA5}">
                      <a16:colId xmlns:a16="http://schemas.microsoft.com/office/drawing/2014/main" val="106744429"/>
                    </a:ext>
                  </a:extLst>
                </a:gridCol>
                <a:gridCol w="1155392">
                  <a:extLst>
                    <a:ext uri="{9D8B030D-6E8A-4147-A177-3AD203B41FA5}">
                      <a16:colId xmlns:a16="http://schemas.microsoft.com/office/drawing/2014/main" val="570244130"/>
                    </a:ext>
                  </a:extLst>
                </a:gridCol>
              </a:tblGrid>
              <a:tr h="174739">
                <a:tc gridSpan="2">
                  <a:txBody>
                    <a:bodyPr/>
                    <a:lstStyle/>
                    <a:p>
                      <a:pPr algn="l" fontAlgn="ctr"/>
                      <a:r>
                        <a:rPr lang="en-CA" sz="900" b="1" i="0" u="none" strike="noStrike">
                          <a:solidFill>
                            <a:srgbClr val="FFFFFF"/>
                          </a:solidFill>
                          <a:effectLst/>
                          <a:latin typeface="Arial" panose="020B0604020202020204" pitchFamily="34" charset="0"/>
                        </a:rPr>
                        <a:t>Borrowing Spread</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CA"/>
                    </a:p>
                  </a:txBody>
                  <a:tcPr/>
                </a:tc>
                <a:tc>
                  <a:txBody>
                    <a:bodyPr/>
                    <a:lstStyle/>
                    <a:p>
                      <a:pPr algn="l" fontAlgn="ctr"/>
                      <a:r>
                        <a:rPr lang="en-CA" sz="900" b="1" i="0" u="none" strike="noStrike">
                          <a:solidFill>
                            <a:srgbClr val="FFFFFF"/>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r>
                        <a:rPr lang="en-CA" sz="900" b="1" i="0" u="none" strike="noStrike">
                          <a:solidFill>
                            <a:srgbClr val="FFFFFF"/>
                          </a:solidFill>
                          <a:effectLst/>
                          <a:latin typeface="Arial" panose="020B0604020202020204" pitchFamily="34" charset="0"/>
                        </a:rPr>
                        <a:t> </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168884649"/>
                  </a:ext>
                </a:extLst>
              </a:tr>
              <a:tr h="314531">
                <a:tc gridSpan="2">
                  <a:txBody>
                    <a:bodyPr/>
                    <a:lstStyle/>
                    <a:p>
                      <a:pPr algn="ctr" fontAlgn="b"/>
                      <a:r>
                        <a:rPr lang="en-US" sz="900" b="1" i="1" u="none" strike="noStrike">
                          <a:solidFill>
                            <a:srgbClr val="000000"/>
                          </a:solidFill>
                          <a:effectLst/>
                          <a:latin typeface="Arial" panose="020B0604020202020204" pitchFamily="34" charset="0"/>
                        </a:rPr>
                        <a:t>If interest coverage ratio is</a:t>
                      </a:r>
                    </a:p>
                  </a:txBody>
                  <a:tcPr marL="0" marR="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CA"/>
                    </a:p>
                  </a:txBody>
                  <a:tcPr/>
                </a:tc>
                <a:tc>
                  <a:txBody>
                    <a:bodyPr/>
                    <a:lstStyle/>
                    <a:p>
                      <a:pPr algn="l" fontAlgn="b"/>
                      <a:r>
                        <a:rPr lang="en-CA" sz="900" b="1" i="0" u="none" strike="noStrike">
                          <a:solidFill>
                            <a:srgbClr val="000000"/>
                          </a:solidFill>
                          <a:effectLst/>
                          <a:latin typeface="Arial" panose="020B0604020202020204" pitchFamily="34" charset="0"/>
                        </a:rPr>
                        <a:t> </a:t>
                      </a:r>
                    </a:p>
                  </a:txBody>
                  <a:tcPr marL="0" marR="0" marT="0" marB="0" anchor="b">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CA" sz="900" b="1" i="0" u="none" strike="noStrike">
                          <a:solidFill>
                            <a:srgbClr val="000000"/>
                          </a:solidFill>
                          <a:effectLst/>
                          <a:latin typeface="Arial" panose="020B0604020202020204" pitchFamily="34" charset="0"/>
                        </a:rPr>
                        <a:t> </a:t>
                      </a:r>
                    </a:p>
                  </a:txBody>
                  <a:tcPr marL="0" marR="0" marT="0"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1784436"/>
                  </a:ext>
                </a:extLst>
              </a:tr>
              <a:tr h="167458">
                <a:tc>
                  <a:txBody>
                    <a:bodyPr/>
                    <a:lstStyle/>
                    <a:p>
                      <a:pPr algn="ctr" fontAlgn="b"/>
                      <a:r>
                        <a:rPr lang="en-CA" sz="900" b="1" i="1" u="none" strike="noStrike">
                          <a:solidFill>
                            <a:srgbClr val="000000"/>
                          </a:solidFill>
                          <a:effectLst/>
                          <a:latin typeface="Arial" panose="020B0604020202020204" pitchFamily="34" charset="0"/>
                        </a:rPr>
                        <a:t>&gt;</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1" i="1" u="none" strike="noStrike">
                          <a:solidFill>
                            <a:srgbClr val="000000"/>
                          </a:solidFill>
                          <a:effectLst/>
                          <a:latin typeface="Arial" panose="020B0604020202020204" pitchFamily="34" charset="0"/>
                        </a:rPr>
                        <a:t>≤ to</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1" i="1" u="none" strike="noStrike">
                          <a:solidFill>
                            <a:srgbClr val="000000"/>
                          </a:solidFill>
                          <a:effectLst/>
                          <a:latin typeface="Arial" panose="020B0604020202020204" pitchFamily="34" charset="0"/>
                        </a:rPr>
                        <a:t>Rating i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1" i="1" u="none" strike="noStrike">
                          <a:solidFill>
                            <a:srgbClr val="000000"/>
                          </a:solidFill>
                          <a:effectLst/>
                          <a:latin typeface="Arial" panose="020B0604020202020204" pitchFamily="34" charset="0"/>
                        </a:rPr>
                        <a:t>Spread is</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5916997"/>
                  </a:ext>
                </a:extLst>
              </a:tr>
              <a:tr h="167458">
                <a:tc>
                  <a:txBody>
                    <a:bodyPr/>
                    <a:lstStyle/>
                    <a:p>
                      <a:pPr algn="ctr" fontAlgn="b"/>
                      <a:r>
                        <a:rPr lang="en-CA" sz="900" b="0" i="0" u="none" strike="noStrike">
                          <a:solidFill>
                            <a:srgbClr val="000000"/>
                          </a:solidFill>
                          <a:effectLst/>
                          <a:latin typeface="Arial" panose="020B0604020202020204" pitchFamily="34" charset="0"/>
                        </a:rPr>
                        <a:t>-100000</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0.19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D2/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20.0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4070406"/>
                  </a:ext>
                </a:extLst>
              </a:tr>
              <a:tr h="167458">
                <a:tc>
                  <a:txBody>
                    <a:bodyPr/>
                    <a:lstStyle/>
                    <a:p>
                      <a:pPr algn="ctr" fontAlgn="b"/>
                      <a:r>
                        <a:rPr lang="en-CA" sz="900" b="0" i="0" u="none" strike="noStrike">
                          <a:solidFill>
                            <a:srgbClr val="000000"/>
                          </a:solidFill>
                          <a:effectLst/>
                          <a:latin typeface="Arial" panose="020B0604020202020204" pitchFamily="34" charset="0"/>
                        </a:rPr>
                        <a:t>0.2</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0.64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C2/C</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7.0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6761707"/>
                  </a:ext>
                </a:extLst>
              </a:tr>
              <a:tr h="167458">
                <a:tc>
                  <a:txBody>
                    <a:bodyPr/>
                    <a:lstStyle/>
                    <a:p>
                      <a:pPr algn="ctr" fontAlgn="b"/>
                      <a:r>
                        <a:rPr lang="en-CA" sz="900" b="0" i="0" u="none" strike="noStrike">
                          <a:solidFill>
                            <a:srgbClr val="000000"/>
                          </a:solidFill>
                          <a:effectLst/>
                          <a:latin typeface="Arial" panose="020B0604020202020204" pitchFamily="34" charset="0"/>
                        </a:rPr>
                        <a:t>0.6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0.79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Ca2/CC</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1.78%</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6947906"/>
                  </a:ext>
                </a:extLst>
              </a:tr>
              <a:tr h="167458">
                <a:tc>
                  <a:txBody>
                    <a:bodyPr/>
                    <a:lstStyle/>
                    <a:p>
                      <a:pPr algn="ctr" fontAlgn="b"/>
                      <a:r>
                        <a:rPr lang="en-CA" sz="900" b="0" i="0" u="none" strike="noStrike">
                          <a:solidFill>
                            <a:srgbClr val="000000"/>
                          </a:solidFill>
                          <a:effectLst/>
                          <a:latin typeface="Arial" panose="020B0604020202020204" pitchFamily="34" charset="0"/>
                        </a:rPr>
                        <a:t>0.8</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24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Caa/CCC</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8.51%</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9012083"/>
                  </a:ext>
                </a:extLst>
              </a:tr>
              <a:tr h="167458">
                <a:tc>
                  <a:txBody>
                    <a:bodyPr/>
                    <a:lstStyle/>
                    <a:p>
                      <a:pPr algn="ctr" fontAlgn="b"/>
                      <a:r>
                        <a:rPr lang="en-CA" sz="900" b="0" i="0" u="none" strike="noStrike">
                          <a:solidFill>
                            <a:srgbClr val="000000"/>
                          </a:solidFill>
                          <a:effectLst/>
                          <a:latin typeface="Arial" panose="020B0604020202020204" pitchFamily="34" charset="0"/>
                        </a:rPr>
                        <a:t>1.2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49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B3/B-</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5.24%</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7327586"/>
                  </a:ext>
                </a:extLst>
              </a:tr>
              <a:tr h="167458">
                <a:tc>
                  <a:txBody>
                    <a:bodyPr/>
                    <a:lstStyle/>
                    <a:p>
                      <a:pPr algn="ctr" fontAlgn="b"/>
                      <a:r>
                        <a:rPr lang="en-CA" sz="900" b="0" i="0" u="none" strike="noStrike">
                          <a:solidFill>
                            <a:srgbClr val="000000"/>
                          </a:solidFill>
                          <a:effectLst/>
                          <a:latin typeface="Arial" panose="020B0604020202020204" pitchFamily="34" charset="0"/>
                        </a:rPr>
                        <a:t>1.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74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B2/B</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3.61%</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1237156"/>
                  </a:ext>
                </a:extLst>
              </a:tr>
              <a:tr h="167458">
                <a:tc>
                  <a:txBody>
                    <a:bodyPr/>
                    <a:lstStyle/>
                    <a:p>
                      <a:pPr algn="ctr" fontAlgn="b"/>
                      <a:r>
                        <a:rPr lang="en-CA" sz="900" b="0" i="0" u="none" strike="noStrike">
                          <a:solidFill>
                            <a:srgbClr val="000000"/>
                          </a:solidFill>
                          <a:effectLst/>
                          <a:latin typeface="Arial" panose="020B0604020202020204" pitchFamily="34" charset="0"/>
                        </a:rPr>
                        <a:t>1.7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99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B1/B+</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3.14%</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5587270"/>
                  </a:ext>
                </a:extLst>
              </a:tr>
              <a:tr h="167458">
                <a:tc>
                  <a:txBody>
                    <a:bodyPr/>
                    <a:lstStyle/>
                    <a:p>
                      <a:pPr algn="ctr" fontAlgn="b"/>
                      <a:r>
                        <a:rPr lang="en-CA" sz="900" b="0" i="0" u="none" strike="noStrike">
                          <a:solidFill>
                            <a:srgbClr val="000000"/>
                          </a:solidFill>
                          <a:effectLst/>
                          <a:latin typeface="Arial" panose="020B0604020202020204" pitchFamily="34" charset="0"/>
                        </a:rPr>
                        <a:t>2</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2.249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Ba2/BB</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2.21%</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5697010"/>
                  </a:ext>
                </a:extLst>
              </a:tr>
              <a:tr h="167458">
                <a:tc>
                  <a:txBody>
                    <a:bodyPr/>
                    <a:lstStyle/>
                    <a:p>
                      <a:pPr algn="ctr" fontAlgn="b"/>
                      <a:r>
                        <a:rPr lang="en-CA" sz="900" b="0" i="0" u="none" strike="noStrike">
                          <a:solidFill>
                            <a:srgbClr val="000000"/>
                          </a:solidFill>
                          <a:effectLst/>
                          <a:latin typeface="Arial" panose="020B0604020202020204" pitchFamily="34" charset="0"/>
                        </a:rPr>
                        <a:t>2.2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2.4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Ba1/BB+</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74%</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9414497"/>
                  </a:ext>
                </a:extLst>
              </a:tr>
              <a:tr h="167458">
                <a:tc>
                  <a:txBody>
                    <a:bodyPr/>
                    <a:lstStyle/>
                    <a:p>
                      <a:pPr algn="ctr" fontAlgn="b"/>
                      <a:r>
                        <a:rPr lang="en-CA" sz="900" b="0" i="0" u="none" strike="noStrike">
                          <a:solidFill>
                            <a:srgbClr val="000000"/>
                          </a:solidFill>
                          <a:effectLst/>
                          <a:latin typeface="Arial" panose="020B0604020202020204" pitchFamily="34" charset="0"/>
                        </a:rPr>
                        <a:t>2.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2.99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Baa2/BBB</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47%</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5849885"/>
                  </a:ext>
                </a:extLst>
              </a:tr>
              <a:tr h="167458">
                <a:tc>
                  <a:txBody>
                    <a:bodyPr/>
                    <a:lstStyle/>
                    <a:p>
                      <a:pPr algn="ctr" fontAlgn="b"/>
                      <a:r>
                        <a:rPr lang="en-CA" sz="900" b="0" i="0" u="none" strike="noStrike">
                          <a:solidFill>
                            <a:srgbClr val="000000"/>
                          </a:solidFill>
                          <a:effectLst/>
                          <a:latin typeface="Arial" panose="020B0604020202020204" pitchFamily="34" charset="0"/>
                        </a:rPr>
                        <a:t>3</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4.24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A3/A-</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21%</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4683019"/>
                  </a:ext>
                </a:extLst>
              </a:tr>
              <a:tr h="167458">
                <a:tc>
                  <a:txBody>
                    <a:bodyPr/>
                    <a:lstStyle/>
                    <a:p>
                      <a:pPr algn="ctr" fontAlgn="b"/>
                      <a:r>
                        <a:rPr lang="en-CA" sz="900" b="0" i="0" u="none" strike="noStrike">
                          <a:solidFill>
                            <a:srgbClr val="000000"/>
                          </a:solidFill>
                          <a:effectLst/>
                          <a:latin typeface="Arial" panose="020B0604020202020204" pitchFamily="34" charset="0"/>
                        </a:rPr>
                        <a:t>4.2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5.49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A2/A</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07%</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9438984"/>
                  </a:ext>
                </a:extLst>
              </a:tr>
              <a:tr h="167458">
                <a:tc>
                  <a:txBody>
                    <a:bodyPr/>
                    <a:lstStyle/>
                    <a:p>
                      <a:pPr algn="ctr" fontAlgn="b"/>
                      <a:r>
                        <a:rPr lang="en-CA" sz="900" b="0" i="0" u="none" strike="noStrike">
                          <a:solidFill>
                            <a:srgbClr val="000000"/>
                          </a:solidFill>
                          <a:effectLst/>
                          <a:latin typeface="Arial" panose="020B0604020202020204" pitchFamily="34" charset="0"/>
                        </a:rPr>
                        <a:t>5.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6.49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A1/A+</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ysClr val="windowText" lastClr="000000"/>
                          </a:solidFill>
                          <a:effectLst/>
                          <a:latin typeface="Arial" panose="020B0604020202020204" pitchFamily="34" charset="0"/>
                        </a:rPr>
                        <a:t>0.92%</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14969871"/>
                  </a:ext>
                </a:extLst>
              </a:tr>
              <a:tr h="167458">
                <a:tc>
                  <a:txBody>
                    <a:bodyPr/>
                    <a:lstStyle/>
                    <a:p>
                      <a:pPr algn="ctr" fontAlgn="b"/>
                      <a:r>
                        <a:rPr lang="en-CA" sz="900" b="0" i="0" u="none" strike="noStrike">
                          <a:solidFill>
                            <a:srgbClr val="000000"/>
                          </a:solidFill>
                          <a:effectLst/>
                          <a:latin typeface="Arial" panose="020B0604020202020204" pitchFamily="34" charset="0"/>
                        </a:rPr>
                        <a:t>6.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8.49999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Aa2/AA</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CA" sz="900" b="0" i="0" u="none" strike="noStrike">
                          <a:solidFill>
                            <a:schemeClr val="bg1"/>
                          </a:solidFill>
                          <a:effectLst/>
                          <a:latin typeface="Arial" panose="020B0604020202020204" pitchFamily="34" charset="0"/>
                        </a:rPr>
                        <a:t>0.7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199017483"/>
                  </a:ext>
                </a:extLst>
              </a:tr>
              <a:tr h="174739">
                <a:tc>
                  <a:txBody>
                    <a:bodyPr/>
                    <a:lstStyle/>
                    <a:p>
                      <a:pPr algn="ctr" fontAlgn="b"/>
                      <a:r>
                        <a:rPr lang="en-CA" sz="900" b="0" i="0" u="none" strike="noStrike">
                          <a:solidFill>
                            <a:srgbClr val="000000"/>
                          </a:solidFill>
                          <a:effectLst/>
                          <a:latin typeface="Arial" panose="020B0604020202020204" pitchFamily="34" charset="0"/>
                        </a:rPr>
                        <a:t>8.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10000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Aaa/AAA</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CA" sz="900" b="0" i="0" u="none" strike="noStrike">
                          <a:solidFill>
                            <a:srgbClr val="000000"/>
                          </a:solidFill>
                          <a:effectLst/>
                          <a:latin typeface="Arial" panose="020B0604020202020204" pitchFamily="34" charset="0"/>
                        </a:rPr>
                        <a:t>0.59%</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98269938"/>
                  </a:ext>
                </a:extLst>
              </a:tr>
            </a:tbl>
          </a:graphicData>
        </a:graphic>
      </p:graphicFrame>
      <p:graphicFrame>
        <p:nvGraphicFramePr>
          <p:cNvPr id="27" name="Table 26">
            <a:extLst>
              <a:ext uri="{FF2B5EF4-FFF2-40B4-BE49-F238E27FC236}">
                <a16:creationId xmlns:a16="http://schemas.microsoft.com/office/drawing/2014/main" id="{B97EF53B-B18E-BA94-7A63-17ABE8934BCB}"/>
              </a:ext>
            </a:extLst>
          </p:cNvPr>
          <p:cNvGraphicFramePr>
            <a:graphicFrameLocks noGrp="1"/>
          </p:cNvGraphicFramePr>
          <p:nvPr>
            <p:extLst>
              <p:ext uri="{D42A27DB-BD31-4B8C-83A1-F6EECF244321}">
                <p14:modId xmlns:p14="http://schemas.microsoft.com/office/powerpoint/2010/main" val="2352750692"/>
              </p:ext>
            </p:extLst>
          </p:nvPr>
        </p:nvGraphicFramePr>
        <p:xfrm>
          <a:off x="250819" y="4752974"/>
          <a:ext cx="4141784" cy="1310540"/>
        </p:xfrm>
        <a:graphic>
          <a:graphicData uri="http://schemas.openxmlformats.org/drawingml/2006/table">
            <a:tbl>
              <a:tblPr/>
              <a:tblGrid>
                <a:gridCol w="1994490">
                  <a:extLst>
                    <a:ext uri="{9D8B030D-6E8A-4147-A177-3AD203B41FA5}">
                      <a16:colId xmlns:a16="http://schemas.microsoft.com/office/drawing/2014/main" val="1846784129"/>
                    </a:ext>
                  </a:extLst>
                </a:gridCol>
                <a:gridCol w="1483804">
                  <a:extLst>
                    <a:ext uri="{9D8B030D-6E8A-4147-A177-3AD203B41FA5}">
                      <a16:colId xmlns:a16="http://schemas.microsoft.com/office/drawing/2014/main" val="1103678463"/>
                    </a:ext>
                  </a:extLst>
                </a:gridCol>
                <a:gridCol w="663490">
                  <a:extLst>
                    <a:ext uri="{9D8B030D-6E8A-4147-A177-3AD203B41FA5}">
                      <a16:colId xmlns:a16="http://schemas.microsoft.com/office/drawing/2014/main" val="4023615858"/>
                    </a:ext>
                  </a:extLst>
                </a:gridCol>
              </a:tblGrid>
              <a:tr h="187220">
                <a:tc>
                  <a:txBody>
                    <a:bodyPr/>
                    <a:lstStyle/>
                    <a:p>
                      <a:pPr algn="l" fontAlgn="ctr"/>
                      <a:r>
                        <a:rPr lang="en-US" sz="1100" b="1" i="0" u="none" strike="noStrike">
                          <a:solidFill>
                            <a:srgbClr val="FFFFFF"/>
                          </a:solidFill>
                          <a:effectLst/>
                          <a:latin typeface="+mn-lt"/>
                        </a:rPr>
                        <a:t>Valuation</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gridSpan="2">
                  <a:txBody>
                    <a:bodyPr/>
                    <a:lstStyle/>
                    <a:p>
                      <a:pPr algn="l" fontAlgn="ctr"/>
                      <a:r>
                        <a:rPr lang="en-US" sz="1100" b="1" i="0" u="none" strike="noStrike">
                          <a:solidFill>
                            <a:srgbClr val="FFFFFF"/>
                          </a:solidFill>
                          <a:effectLst/>
                          <a:latin typeface="+mn-lt"/>
                        </a:rPr>
                        <a:t>Implied Change in Base Case</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hMerge="1">
                  <a:txBody>
                    <a:bodyPr/>
                    <a:lstStyle/>
                    <a:p>
                      <a:endParaRPr lang="en-US"/>
                    </a:p>
                  </a:txBody>
                  <a:tcPr/>
                </a:tc>
                <a:extLst>
                  <a:ext uri="{0D108BD9-81ED-4DB2-BD59-A6C34878D82A}">
                    <a16:rowId xmlns:a16="http://schemas.microsoft.com/office/drawing/2014/main" val="1679455041"/>
                  </a:ext>
                </a:extLst>
              </a:tr>
              <a:tr h="187220">
                <a:tc>
                  <a:txBody>
                    <a:bodyPr/>
                    <a:lstStyle/>
                    <a:p>
                      <a:pPr algn="l" fontAlgn="b"/>
                      <a:r>
                        <a:rPr lang="en-US" sz="1100" b="0" i="0" u="none" strike="noStrike">
                          <a:solidFill>
                            <a:srgbClr val="000000"/>
                          </a:solidFill>
                          <a:effectLst/>
                          <a:latin typeface="+mn-lt"/>
                        </a:rPr>
                        <a:t>DCF TGR</a:t>
                      </a:r>
                    </a:p>
                  </a:txBody>
                  <a:tcPr marL="0" marR="0" marT="0"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100" b="0" i="0" u="none" strike="noStrike">
                          <a:solidFill>
                            <a:srgbClr val="000000"/>
                          </a:solidFill>
                          <a:effectLst/>
                          <a:latin typeface="+mn-lt"/>
                        </a:rPr>
                        <a:t>35%</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100" b="0" i="0" u="none" strike="noStrike">
                          <a:solidFill>
                            <a:srgbClr val="000000"/>
                          </a:solidFill>
                          <a:effectLst/>
                          <a:latin typeface="+mn-lt"/>
                        </a:rPr>
                        <a:t>33.35%</a:t>
                      </a:r>
                    </a:p>
                  </a:txBody>
                  <a:tcPr marL="0" marR="0" marT="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4BB37A"/>
                    </a:solidFill>
                  </a:tcPr>
                </a:tc>
                <a:extLst>
                  <a:ext uri="{0D108BD9-81ED-4DB2-BD59-A6C34878D82A}">
                    <a16:rowId xmlns:a16="http://schemas.microsoft.com/office/drawing/2014/main" val="2350541324"/>
                  </a:ext>
                </a:extLst>
              </a:tr>
              <a:tr h="187220">
                <a:tc>
                  <a:txBody>
                    <a:bodyPr/>
                    <a:lstStyle/>
                    <a:p>
                      <a:pPr algn="l" fontAlgn="b"/>
                      <a:r>
                        <a:rPr lang="en-US" sz="1100" b="0" i="0" u="none" strike="noStrike">
                          <a:solidFill>
                            <a:srgbClr val="000000"/>
                          </a:solidFill>
                          <a:effectLst/>
                          <a:latin typeface="+mn-lt"/>
                        </a:rPr>
                        <a:t>DCF Exit Multiple</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US" sz="1100" b="0" i="0" u="none" strike="noStrike">
                          <a:solidFill>
                            <a:srgbClr val="000000"/>
                          </a:solidFill>
                          <a:effectLst/>
                          <a:latin typeface="+mn-lt"/>
                        </a:rPr>
                        <a:t>35%</a:t>
                      </a:r>
                    </a:p>
                  </a:txBody>
                  <a:tcPr marL="0" marR="0" marT="0" marB="0" anchor="b">
                    <a:lnL>
                      <a:noFill/>
                    </a:lnL>
                    <a:lnR>
                      <a:noFill/>
                    </a:lnR>
                    <a:lnT>
                      <a:noFill/>
                    </a:lnT>
                    <a:lnB>
                      <a:noFill/>
                    </a:lnB>
                    <a:noFill/>
                  </a:tcPr>
                </a:tc>
                <a:tc>
                  <a:txBody>
                    <a:bodyPr/>
                    <a:lstStyle/>
                    <a:p>
                      <a:pPr algn="r" fontAlgn="b"/>
                      <a:r>
                        <a:rPr lang="en-US" sz="1100" b="0" i="0" u="none" strike="noStrike">
                          <a:solidFill>
                            <a:srgbClr val="000000"/>
                          </a:solidFill>
                          <a:effectLst/>
                          <a:latin typeface="+mn-lt"/>
                        </a:rPr>
                        <a:t>37.70%</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4BB37A"/>
                    </a:solidFill>
                  </a:tcPr>
                </a:tc>
                <a:extLst>
                  <a:ext uri="{0D108BD9-81ED-4DB2-BD59-A6C34878D82A}">
                    <a16:rowId xmlns:a16="http://schemas.microsoft.com/office/drawing/2014/main" val="1238156062"/>
                  </a:ext>
                </a:extLst>
              </a:tr>
              <a:tr h="187220">
                <a:tc>
                  <a:txBody>
                    <a:bodyPr/>
                    <a:lstStyle/>
                    <a:p>
                      <a:pPr algn="l" fontAlgn="b"/>
                      <a:r>
                        <a:rPr lang="en-US" sz="1100" b="0" i="0" u="none" strike="noStrike">
                          <a:solidFill>
                            <a:srgbClr val="000000"/>
                          </a:solidFill>
                          <a:effectLst/>
                          <a:latin typeface="+mn-lt"/>
                        </a:rPr>
                        <a:t>EV/Revenue</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US" sz="1100" b="0" i="0" u="none" strike="noStrike">
                          <a:solidFill>
                            <a:srgbClr val="000000"/>
                          </a:solidFill>
                          <a:effectLst/>
                          <a:latin typeface="+mn-lt"/>
                        </a:rPr>
                        <a:t>10%</a:t>
                      </a:r>
                    </a:p>
                  </a:txBody>
                  <a:tcPr marL="0" marR="0" marT="0" marB="0" anchor="b">
                    <a:lnL>
                      <a:noFill/>
                    </a:lnL>
                    <a:lnR>
                      <a:noFill/>
                    </a:lnR>
                    <a:lnT>
                      <a:noFill/>
                    </a:lnT>
                    <a:lnB>
                      <a:noFill/>
                    </a:lnB>
                    <a:noFill/>
                  </a:tcPr>
                </a:tc>
                <a:tc>
                  <a:txBody>
                    <a:bodyPr/>
                    <a:lstStyle/>
                    <a:p>
                      <a:pPr algn="r" fontAlgn="b"/>
                      <a:r>
                        <a:rPr lang="en-US" sz="1100" b="0" i="0" u="none" strike="noStrike">
                          <a:solidFill>
                            <a:srgbClr val="000000"/>
                          </a:solidFill>
                          <a:effectLst/>
                          <a:latin typeface="+mn-lt"/>
                        </a:rPr>
                        <a:t>48.99%</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4BB37A"/>
                    </a:solidFill>
                  </a:tcPr>
                </a:tc>
                <a:extLst>
                  <a:ext uri="{0D108BD9-81ED-4DB2-BD59-A6C34878D82A}">
                    <a16:rowId xmlns:a16="http://schemas.microsoft.com/office/drawing/2014/main" val="3444528158"/>
                  </a:ext>
                </a:extLst>
              </a:tr>
              <a:tr h="187220">
                <a:tc>
                  <a:txBody>
                    <a:bodyPr/>
                    <a:lstStyle/>
                    <a:p>
                      <a:pPr algn="l" fontAlgn="b"/>
                      <a:r>
                        <a:rPr lang="en-US" sz="1100" b="0" i="0" u="none" strike="noStrike">
                          <a:solidFill>
                            <a:srgbClr val="000000"/>
                          </a:solidFill>
                          <a:effectLst/>
                          <a:latin typeface="+mn-lt"/>
                        </a:rPr>
                        <a:t>EV/EBITDA</a:t>
                      </a:r>
                    </a:p>
                  </a:txBody>
                  <a:tcPr marL="0" marR="0" marT="0"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US" sz="1100" b="0" i="0" u="none" strike="noStrike">
                          <a:solidFill>
                            <a:srgbClr val="000000"/>
                          </a:solidFill>
                          <a:effectLst/>
                          <a:latin typeface="+mn-lt"/>
                        </a:rPr>
                        <a:t>10%</a:t>
                      </a:r>
                    </a:p>
                  </a:txBody>
                  <a:tcPr marL="0" marR="0" marT="0" marB="0" anchor="b">
                    <a:lnL>
                      <a:noFill/>
                    </a:lnL>
                    <a:lnR>
                      <a:noFill/>
                    </a:lnR>
                    <a:lnT>
                      <a:noFill/>
                    </a:lnT>
                    <a:lnB>
                      <a:noFill/>
                    </a:lnB>
                    <a:noFill/>
                  </a:tcPr>
                </a:tc>
                <a:tc>
                  <a:txBody>
                    <a:bodyPr/>
                    <a:lstStyle/>
                    <a:p>
                      <a:pPr algn="r" fontAlgn="b"/>
                      <a:r>
                        <a:rPr lang="en-US" sz="1100" b="0" i="0" u="none" strike="noStrike">
                          <a:solidFill>
                            <a:srgbClr val="000000"/>
                          </a:solidFill>
                          <a:effectLst/>
                          <a:latin typeface="+mn-lt"/>
                        </a:rPr>
                        <a:t>-13.32%</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F6363"/>
                    </a:solidFill>
                  </a:tcPr>
                </a:tc>
                <a:extLst>
                  <a:ext uri="{0D108BD9-81ED-4DB2-BD59-A6C34878D82A}">
                    <a16:rowId xmlns:a16="http://schemas.microsoft.com/office/drawing/2014/main" val="2609182215"/>
                  </a:ext>
                </a:extLst>
              </a:tr>
              <a:tr h="187220">
                <a:tc>
                  <a:txBody>
                    <a:bodyPr/>
                    <a:lstStyle/>
                    <a:p>
                      <a:pPr algn="l" fontAlgn="b"/>
                      <a:r>
                        <a:rPr lang="en-US" sz="1100" b="0" i="0" u="none" strike="noStrike">
                          <a:solidFill>
                            <a:srgbClr val="000000"/>
                          </a:solidFill>
                          <a:effectLst/>
                          <a:latin typeface="+mn-lt"/>
                        </a:rPr>
                        <a:t>P/E</a:t>
                      </a:r>
                    </a:p>
                  </a:txBody>
                  <a:tcPr marL="0" marR="0" marT="0"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10%</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0.62%</a:t>
                      </a:r>
                    </a:p>
                  </a:txBody>
                  <a:tcPr marL="0" marR="0" marT="0"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6363"/>
                    </a:solidFill>
                  </a:tcPr>
                </a:tc>
                <a:extLst>
                  <a:ext uri="{0D108BD9-81ED-4DB2-BD59-A6C34878D82A}">
                    <a16:rowId xmlns:a16="http://schemas.microsoft.com/office/drawing/2014/main" val="168241033"/>
                  </a:ext>
                </a:extLst>
              </a:tr>
              <a:tr h="187220">
                <a:tc>
                  <a:txBody>
                    <a:bodyPr/>
                    <a:lstStyle/>
                    <a:p>
                      <a:pPr algn="l" fontAlgn="b"/>
                      <a:r>
                        <a:rPr lang="en-US" sz="1100" b="0" i="0" u="none" strike="noStrike">
                          <a:solidFill>
                            <a:srgbClr val="000000"/>
                          </a:solidFill>
                          <a:effectLst/>
                          <a:latin typeface="+mn-lt"/>
                        </a:rPr>
                        <a:t>Implied Upside</a:t>
                      </a:r>
                    </a:p>
                  </a:txBody>
                  <a:tcPr marL="0" marR="0" marT="0"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100" b="1" i="0" u="none" strike="noStrike">
                          <a:solidFill>
                            <a:srgbClr val="000000"/>
                          </a:solidFill>
                          <a:effectLst/>
                          <a:latin typeface="+mn-lt"/>
                        </a:rPr>
                        <a:t> </a:t>
                      </a: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28.37%</a:t>
                      </a:r>
                    </a:p>
                  </a:txBody>
                  <a:tcPr marL="0" marR="0" marT="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5234653"/>
                  </a:ext>
                </a:extLst>
              </a:tr>
            </a:tbl>
          </a:graphicData>
        </a:graphic>
      </p:graphicFrame>
      <p:sp>
        <p:nvSpPr>
          <p:cNvPr id="2" name="Rectangle 1">
            <a:extLst>
              <a:ext uri="{FF2B5EF4-FFF2-40B4-BE49-F238E27FC236}">
                <a16:creationId xmlns:a16="http://schemas.microsoft.com/office/drawing/2014/main" id="{AD903103-F7FA-CF28-8454-2C8CD5F18B41}"/>
              </a:ext>
            </a:extLst>
          </p:cNvPr>
          <p:cNvSpPr/>
          <p:nvPr/>
        </p:nvSpPr>
        <p:spPr>
          <a:xfrm>
            <a:off x="6612941" y="6466637"/>
            <a:ext cx="1923897" cy="293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Tree>
    <p:extLst>
      <p:ext uri="{BB962C8B-B14F-4D97-AF65-F5344CB8AC3E}">
        <p14:creationId xmlns:p14="http://schemas.microsoft.com/office/powerpoint/2010/main" val="2736943677"/>
      </p:ext>
    </p:extLst>
  </p:cSld>
  <p:clrMapOvr>
    <a:masterClrMapping/>
  </p:clrMapOvr>
  <p:extLst>
    <p:ext uri="{6950BFC3-D8DA-4A85-94F7-54DA5524770B}">
      <p188:commentRel xmlns:p188="http://schemas.microsoft.com/office/powerpoint/2018/8/main" r:id="rId2"/>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E8CD02-0604-57EA-A604-157DB27BDD71}"/>
              </a:ext>
            </a:extLst>
          </p:cNvPr>
          <p:cNvSpPr>
            <a:spLocks noGrp="1"/>
          </p:cNvSpPr>
          <p:nvPr>
            <p:ph type="body" sz="quarter" idx="13"/>
          </p:nvPr>
        </p:nvSpPr>
        <p:spPr/>
        <p:txBody>
          <a:bodyPr/>
          <a:lstStyle/>
          <a:p>
            <a:r>
              <a:rPr lang="en-US"/>
              <a:t>Source(s): Bloomberg, Capital IQ, </a:t>
            </a:r>
            <a:r>
              <a:rPr lang="en-US" err="1"/>
              <a:t>Addus</a:t>
            </a:r>
            <a:r>
              <a:rPr lang="en-US"/>
              <a:t> 10-k</a:t>
            </a:r>
            <a:endParaRPr lang="en-CA"/>
          </a:p>
          <a:p>
            <a:endParaRPr lang="en-CA"/>
          </a:p>
        </p:txBody>
      </p:sp>
      <p:sp>
        <p:nvSpPr>
          <p:cNvPr id="3" name="Text Placeholder 2">
            <a:extLst>
              <a:ext uri="{FF2B5EF4-FFF2-40B4-BE49-F238E27FC236}">
                <a16:creationId xmlns:a16="http://schemas.microsoft.com/office/drawing/2014/main" id="{32CED538-C9A5-1209-8596-C8E52F83246C}"/>
              </a:ext>
            </a:extLst>
          </p:cNvPr>
          <p:cNvSpPr>
            <a:spLocks noGrp="1"/>
          </p:cNvSpPr>
          <p:nvPr>
            <p:ph type="body" sz="quarter" idx="21"/>
          </p:nvPr>
        </p:nvSpPr>
        <p:spPr/>
        <p:txBody>
          <a:bodyPr/>
          <a:lstStyle/>
          <a:p>
            <a:r>
              <a:rPr lang="en-CA"/>
              <a:t>Base case</a:t>
            </a:r>
          </a:p>
        </p:txBody>
      </p:sp>
      <p:sp>
        <p:nvSpPr>
          <p:cNvPr id="4" name="Title 3">
            <a:extLst>
              <a:ext uri="{FF2B5EF4-FFF2-40B4-BE49-F238E27FC236}">
                <a16:creationId xmlns:a16="http://schemas.microsoft.com/office/drawing/2014/main" id="{5CB97DC4-EE55-89F8-ADEF-4C0405E806C7}"/>
              </a:ext>
            </a:extLst>
          </p:cNvPr>
          <p:cNvSpPr>
            <a:spLocks noGrp="1"/>
          </p:cNvSpPr>
          <p:nvPr>
            <p:ph type="title"/>
          </p:nvPr>
        </p:nvSpPr>
        <p:spPr/>
        <p:txBody>
          <a:bodyPr/>
          <a:lstStyle/>
          <a:p>
            <a:r>
              <a:rPr lang="en-CA"/>
              <a:t>Discounted Cash Flow Output</a:t>
            </a:r>
          </a:p>
        </p:txBody>
      </p:sp>
      <p:sp>
        <p:nvSpPr>
          <p:cNvPr id="5" name="Text Placeholder 4">
            <a:extLst>
              <a:ext uri="{FF2B5EF4-FFF2-40B4-BE49-F238E27FC236}">
                <a16:creationId xmlns:a16="http://schemas.microsoft.com/office/drawing/2014/main" id="{FC45F9DB-5E55-CC7D-3822-9D334CB4D30B}"/>
              </a:ext>
            </a:extLst>
          </p:cNvPr>
          <p:cNvSpPr>
            <a:spLocks noGrp="1"/>
          </p:cNvSpPr>
          <p:nvPr>
            <p:ph type="body" idx="22"/>
          </p:nvPr>
        </p:nvSpPr>
        <p:spPr/>
        <p:txBody>
          <a:bodyPr/>
          <a:lstStyle/>
          <a:p>
            <a:r>
              <a:rPr lang="en-CA"/>
              <a:t>EV/EBITDA Output</a:t>
            </a:r>
          </a:p>
        </p:txBody>
      </p:sp>
      <p:sp>
        <p:nvSpPr>
          <p:cNvPr id="7" name="Text Placeholder 6">
            <a:extLst>
              <a:ext uri="{FF2B5EF4-FFF2-40B4-BE49-F238E27FC236}">
                <a16:creationId xmlns:a16="http://schemas.microsoft.com/office/drawing/2014/main" id="{231B76B0-BF5A-5400-406F-C1EB36BE1026}"/>
              </a:ext>
            </a:extLst>
          </p:cNvPr>
          <p:cNvSpPr>
            <a:spLocks noGrp="1"/>
          </p:cNvSpPr>
          <p:nvPr>
            <p:ph type="body" idx="26"/>
          </p:nvPr>
        </p:nvSpPr>
        <p:spPr/>
        <p:txBody>
          <a:bodyPr/>
          <a:lstStyle/>
          <a:p>
            <a:r>
              <a:rPr lang="en-CA"/>
              <a:t>Terminal Growth Rate Output</a:t>
            </a:r>
          </a:p>
        </p:txBody>
      </p:sp>
      <p:graphicFrame>
        <p:nvGraphicFramePr>
          <p:cNvPr id="10" name="Table 9">
            <a:extLst>
              <a:ext uri="{FF2B5EF4-FFF2-40B4-BE49-F238E27FC236}">
                <a16:creationId xmlns:a16="http://schemas.microsoft.com/office/drawing/2014/main" id="{3BC32506-B8CE-C94D-147F-FCFD062287AD}"/>
              </a:ext>
            </a:extLst>
          </p:cNvPr>
          <p:cNvGraphicFramePr>
            <a:graphicFrameLocks noGrp="1"/>
          </p:cNvGraphicFramePr>
          <p:nvPr>
            <p:extLst>
              <p:ext uri="{D42A27DB-BD31-4B8C-83A1-F6EECF244321}">
                <p14:modId xmlns:p14="http://schemas.microsoft.com/office/powerpoint/2010/main" val="3500627360"/>
              </p:ext>
            </p:extLst>
          </p:nvPr>
        </p:nvGraphicFramePr>
        <p:xfrm>
          <a:off x="775850" y="1979719"/>
          <a:ext cx="3091740" cy="3355760"/>
        </p:xfrm>
        <a:graphic>
          <a:graphicData uri="http://schemas.openxmlformats.org/drawingml/2006/table">
            <a:tbl>
              <a:tblPr/>
              <a:tblGrid>
                <a:gridCol w="1030580">
                  <a:extLst>
                    <a:ext uri="{9D8B030D-6E8A-4147-A177-3AD203B41FA5}">
                      <a16:colId xmlns:a16="http://schemas.microsoft.com/office/drawing/2014/main" val="3606490801"/>
                    </a:ext>
                  </a:extLst>
                </a:gridCol>
                <a:gridCol w="1030580">
                  <a:extLst>
                    <a:ext uri="{9D8B030D-6E8A-4147-A177-3AD203B41FA5}">
                      <a16:colId xmlns:a16="http://schemas.microsoft.com/office/drawing/2014/main" val="830967918"/>
                    </a:ext>
                  </a:extLst>
                </a:gridCol>
                <a:gridCol w="1030580">
                  <a:extLst>
                    <a:ext uri="{9D8B030D-6E8A-4147-A177-3AD203B41FA5}">
                      <a16:colId xmlns:a16="http://schemas.microsoft.com/office/drawing/2014/main" val="209383209"/>
                    </a:ext>
                  </a:extLst>
                </a:gridCol>
              </a:tblGrid>
              <a:tr h="209735">
                <a:tc gridSpan="3">
                  <a:txBody>
                    <a:bodyPr/>
                    <a:lstStyle/>
                    <a:p>
                      <a:pPr algn="ctr" fontAlgn="b"/>
                      <a:r>
                        <a:rPr lang="en-CA" sz="900" b="1" i="0" u="none" strike="noStrike">
                          <a:solidFill>
                            <a:srgbClr val="FFFFFF"/>
                          </a:solidFill>
                          <a:effectLst/>
                          <a:latin typeface="Arial" panose="020B0604020202020204" pitchFamily="34" charset="0"/>
                        </a:rPr>
                        <a:t>Terminal Growth Rate Metho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575767798"/>
                  </a:ext>
                </a:extLst>
              </a:tr>
              <a:tr h="209735">
                <a:tc gridSpan="2">
                  <a:txBody>
                    <a:bodyPr/>
                    <a:lstStyle/>
                    <a:p>
                      <a:pPr algn="l" fontAlgn="b"/>
                      <a:r>
                        <a:rPr lang="en-CA" sz="900" b="0" i="0" u="none" strike="noStrike">
                          <a:solidFill>
                            <a:srgbClr val="000000"/>
                          </a:solidFill>
                          <a:effectLst/>
                          <a:latin typeface="Arial" panose="020B0604020202020204" pitchFamily="34" charset="0"/>
                        </a:rPr>
                        <a:t>Terminal Growth Rat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1" i="0" u="none" strike="noStrike">
                          <a:solidFill>
                            <a:srgbClr val="FFFFFF"/>
                          </a:solidFill>
                          <a:effectLst/>
                          <a:latin typeface="Arial" panose="020B0604020202020204" pitchFamily="34" charset="0"/>
                        </a:rPr>
                        <a:t>2.50%</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solidFill>
                      <a:srgbClr val="0F3557"/>
                    </a:solidFill>
                  </a:tcPr>
                </a:tc>
                <a:extLst>
                  <a:ext uri="{0D108BD9-81ED-4DB2-BD59-A6C34878D82A}">
                    <a16:rowId xmlns:a16="http://schemas.microsoft.com/office/drawing/2014/main" val="3943541790"/>
                  </a:ext>
                </a:extLst>
              </a:tr>
              <a:tr h="209735">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805449373"/>
                  </a:ext>
                </a:extLst>
              </a:tr>
              <a:tr h="209735">
                <a:tc gridSpan="2">
                  <a:txBody>
                    <a:bodyPr/>
                    <a:lstStyle/>
                    <a:p>
                      <a:pPr algn="l" fontAlgn="b"/>
                      <a:r>
                        <a:rPr lang="en-CA" sz="900" b="0" i="0" u="none" strike="noStrike">
                          <a:solidFill>
                            <a:srgbClr val="000000"/>
                          </a:solidFill>
                          <a:effectLst/>
                          <a:latin typeface="Arial" panose="020B0604020202020204" pitchFamily="34" charset="0"/>
                        </a:rPr>
                        <a:t>Terminal Valu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3678.1</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958691747"/>
                  </a:ext>
                </a:extLst>
              </a:tr>
              <a:tr h="209735">
                <a:tc gridSpan="2">
                  <a:txBody>
                    <a:bodyPr/>
                    <a:lstStyle/>
                    <a:p>
                      <a:pPr algn="l" fontAlgn="b"/>
                      <a:r>
                        <a:rPr lang="en-CA" sz="900" b="0" i="0" u="none" strike="noStrike">
                          <a:solidFill>
                            <a:srgbClr val="000000"/>
                          </a:solidFill>
                          <a:effectLst/>
                          <a:latin typeface="Arial" panose="020B0604020202020204" pitchFamily="34" charset="0"/>
                        </a:rPr>
                        <a:t>Discount Factor</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0.456</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715356913"/>
                  </a:ext>
                </a:extLst>
              </a:tr>
              <a:tr h="209735">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812844719"/>
                  </a:ext>
                </a:extLst>
              </a:tr>
              <a:tr h="209735">
                <a:tc>
                  <a:txBody>
                    <a:bodyPr/>
                    <a:lstStyle/>
                    <a:p>
                      <a:pPr algn="l" fontAlgn="b"/>
                      <a:r>
                        <a:rPr lang="en-CA" sz="900" b="0" i="0" u="none" strike="noStrike">
                          <a:solidFill>
                            <a:srgbClr val="000000"/>
                          </a:solidFill>
                          <a:effectLst/>
                          <a:latin typeface="Arial" panose="020B0604020202020204" pitchFamily="34" charset="0"/>
                        </a:rPr>
                        <a:t>PV of FFCF</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087.7</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231299442"/>
                  </a:ext>
                </a:extLst>
              </a:tr>
              <a:tr h="209735">
                <a:tc gridSpan="2">
                  <a:txBody>
                    <a:bodyPr/>
                    <a:lstStyle/>
                    <a:p>
                      <a:pPr algn="l" fontAlgn="b"/>
                      <a:r>
                        <a:rPr lang="en-CA" sz="900" b="0" i="0" u="none" strike="noStrike">
                          <a:solidFill>
                            <a:srgbClr val="000000"/>
                          </a:solidFill>
                          <a:effectLst/>
                          <a:latin typeface="Arial" panose="020B0604020202020204" pitchFamily="34" charset="0"/>
                        </a:rPr>
                        <a:t>PV of Terminal Value</a:t>
                      </a:r>
                    </a:p>
                  </a:txBody>
                  <a:tcPr marL="6350" marR="6350" marT="635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676.2</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6462173"/>
                  </a:ext>
                </a:extLst>
              </a:tr>
              <a:tr h="209735">
                <a:tc gridSpan="2">
                  <a:txBody>
                    <a:bodyPr/>
                    <a:lstStyle/>
                    <a:p>
                      <a:pPr algn="l" fontAlgn="b"/>
                      <a:r>
                        <a:rPr lang="en-CA" sz="900" b="0" i="0" u="none" strike="noStrike">
                          <a:solidFill>
                            <a:srgbClr val="000000"/>
                          </a:solidFill>
                          <a:effectLst/>
                          <a:latin typeface="Arial" panose="020B0604020202020204" pitchFamily="34" charset="0"/>
                        </a:rPr>
                        <a:t>Implied Enterprise Value</a:t>
                      </a:r>
                    </a:p>
                  </a:txBody>
                  <a:tcPr marL="6350" marR="6350" marT="635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2763.9</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291887148"/>
                  </a:ext>
                </a:extLst>
              </a:tr>
              <a:tr h="209735">
                <a:tc gridSpan="2">
                  <a:txBody>
                    <a:bodyPr/>
                    <a:lstStyle/>
                    <a:p>
                      <a:pPr algn="l" fontAlgn="b"/>
                      <a:r>
                        <a:rPr lang="en-CA" sz="900" b="0" i="0" u="none" strike="noStrike">
                          <a:solidFill>
                            <a:srgbClr val="000000"/>
                          </a:solidFill>
                          <a:effectLst/>
                          <a:latin typeface="Arial" panose="020B0604020202020204" pitchFamily="34" charset="0"/>
                        </a:rPr>
                        <a:t>(+) Cash &amp; Cash Equivalents</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222.9</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841127506"/>
                  </a:ext>
                </a:extLst>
              </a:tr>
              <a:tr h="209735">
                <a:tc>
                  <a:txBody>
                    <a:bodyPr/>
                    <a:lstStyle/>
                    <a:p>
                      <a:pPr algn="l" fontAlgn="b"/>
                      <a:r>
                        <a:rPr lang="en-CA" sz="900" b="0" i="0" u="none" strike="noStrike">
                          <a:solidFill>
                            <a:srgbClr val="000000"/>
                          </a:solidFill>
                          <a:effectLst/>
                          <a:latin typeface="Arial" panose="020B0604020202020204" pitchFamily="34" charset="0"/>
                        </a:rPr>
                        <a:t>(-) Total Debt</a:t>
                      </a:r>
                    </a:p>
                  </a:txBody>
                  <a:tcPr marL="6350" marR="6350" marT="635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900" b="0" i="0" u="none" strike="noStrike">
                          <a:solidFill>
                            <a:srgbClr val="000000"/>
                          </a:solidFill>
                          <a:effectLst/>
                          <a:latin typeface="Arial" panose="020B0604020202020204" pitchFamily="34" charset="0"/>
                        </a:rPr>
                        <a:t> </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49.8</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8545230"/>
                  </a:ext>
                </a:extLst>
              </a:tr>
              <a:tr h="209735">
                <a:tc gridSpan="2">
                  <a:txBody>
                    <a:bodyPr/>
                    <a:lstStyle/>
                    <a:p>
                      <a:pPr algn="l" fontAlgn="b"/>
                      <a:r>
                        <a:rPr lang="en-CA" sz="900" b="0" i="0" u="none" strike="noStrike">
                          <a:solidFill>
                            <a:srgbClr val="000000"/>
                          </a:solidFill>
                          <a:effectLst/>
                          <a:latin typeface="Arial" panose="020B0604020202020204" pitchFamily="34" charset="0"/>
                        </a:rPr>
                        <a:t>Implied Equity Value</a:t>
                      </a:r>
                    </a:p>
                  </a:txBody>
                  <a:tcPr marL="6350" marR="6350" marT="635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2937.0</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826893969"/>
                  </a:ext>
                </a:extLst>
              </a:tr>
              <a:tr h="209735">
                <a:tc>
                  <a:txBody>
                    <a:bodyPr/>
                    <a:lstStyle/>
                    <a:p>
                      <a:pPr algn="l" fontAlgn="b"/>
                      <a:r>
                        <a:rPr lang="en-CA" sz="900" b="0" i="0" u="none" strike="noStrike">
                          <a:solidFill>
                            <a:srgbClr val="000000"/>
                          </a:solidFill>
                          <a:effectLst/>
                          <a:latin typeface="Arial" panose="020B0604020202020204" pitchFamily="34" charset="0"/>
                        </a:rPr>
                        <a:t>FDSO</a:t>
                      </a:r>
                    </a:p>
                  </a:txBody>
                  <a:tcPr marL="6350" marR="6350" marT="635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900" b="0" i="0" u="none" strike="noStrike">
                          <a:solidFill>
                            <a:srgbClr val="000000"/>
                          </a:solidFill>
                          <a:effectLst/>
                          <a:latin typeface="Arial" panose="020B0604020202020204" pitchFamily="34" charset="0"/>
                        </a:rPr>
                        <a:t> </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17.93</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5715998"/>
                  </a:ext>
                </a:extLst>
              </a:tr>
              <a:tr h="209735">
                <a:tc gridSpan="2">
                  <a:txBody>
                    <a:bodyPr/>
                    <a:lstStyle/>
                    <a:p>
                      <a:pPr algn="l" fontAlgn="b"/>
                      <a:r>
                        <a:rPr lang="en-CA" sz="900" b="0" i="0" u="none" strike="noStrike">
                          <a:solidFill>
                            <a:srgbClr val="000000"/>
                          </a:solidFill>
                          <a:effectLst/>
                          <a:latin typeface="Arial" panose="020B0604020202020204" pitchFamily="34" charset="0"/>
                        </a:rPr>
                        <a:t>Implied Share Price</a:t>
                      </a:r>
                    </a:p>
                  </a:txBody>
                  <a:tcPr marL="6350" marR="6350" marT="635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63.8</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308548513"/>
                  </a:ext>
                </a:extLst>
              </a:tr>
              <a:tr h="209735">
                <a:tc gridSpan="2">
                  <a:txBody>
                    <a:bodyPr/>
                    <a:lstStyle/>
                    <a:p>
                      <a:pPr algn="l" fontAlgn="b"/>
                      <a:r>
                        <a:rPr lang="en-CA" sz="900" b="0" i="0" u="none" strike="noStrike">
                          <a:solidFill>
                            <a:srgbClr val="000000"/>
                          </a:solidFill>
                          <a:effectLst/>
                          <a:latin typeface="Arial" panose="020B0604020202020204" pitchFamily="34" charset="0"/>
                        </a:rPr>
                        <a:t>Current Share Price</a:t>
                      </a:r>
                    </a:p>
                  </a:txBody>
                  <a:tcPr marL="6350" marR="6350" marT="635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22.84</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3427023"/>
                  </a:ext>
                </a:extLst>
              </a:tr>
              <a:tr h="209735">
                <a:tc gridSpan="2">
                  <a:txBody>
                    <a:bodyPr/>
                    <a:lstStyle/>
                    <a:p>
                      <a:pPr algn="l" fontAlgn="b"/>
                      <a:r>
                        <a:rPr lang="en-CA" sz="900" b="0" i="0" u="none" strike="noStrike">
                          <a:solidFill>
                            <a:srgbClr val="000000"/>
                          </a:solidFill>
                          <a:effectLst/>
                          <a:latin typeface="Arial" panose="020B0604020202020204" pitchFamily="34" charset="0"/>
                        </a:rPr>
                        <a:t>Implied Change</a:t>
                      </a:r>
                    </a:p>
                  </a:txBody>
                  <a:tcPr marL="6350" marR="6350" marT="635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33.35%</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B954"/>
                    </a:solidFill>
                  </a:tcPr>
                </a:tc>
                <a:extLst>
                  <a:ext uri="{0D108BD9-81ED-4DB2-BD59-A6C34878D82A}">
                    <a16:rowId xmlns:a16="http://schemas.microsoft.com/office/drawing/2014/main" val="3561178147"/>
                  </a:ext>
                </a:extLst>
              </a:tr>
            </a:tbl>
          </a:graphicData>
        </a:graphic>
      </p:graphicFrame>
      <p:graphicFrame>
        <p:nvGraphicFramePr>
          <p:cNvPr id="11" name="Table 10">
            <a:extLst>
              <a:ext uri="{FF2B5EF4-FFF2-40B4-BE49-F238E27FC236}">
                <a16:creationId xmlns:a16="http://schemas.microsoft.com/office/drawing/2014/main" id="{EE2A2B2C-B36E-D8C9-5AD4-1CD5D7020D55}"/>
              </a:ext>
            </a:extLst>
          </p:cNvPr>
          <p:cNvGraphicFramePr>
            <a:graphicFrameLocks noGrp="1"/>
          </p:cNvGraphicFramePr>
          <p:nvPr>
            <p:extLst>
              <p:ext uri="{D42A27DB-BD31-4B8C-83A1-F6EECF244321}">
                <p14:modId xmlns:p14="http://schemas.microsoft.com/office/powerpoint/2010/main" val="1200131299"/>
              </p:ext>
            </p:extLst>
          </p:nvPr>
        </p:nvGraphicFramePr>
        <p:xfrm>
          <a:off x="5276410" y="1979719"/>
          <a:ext cx="3091740" cy="3355760"/>
        </p:xfrm>
        <a:graphic>
          <a:graphicData uri="http://schemas.openxmlformats.org/drawingml/2006/table">
            <a:tbl>
              <a:tblPr/>
              <a:tblGrid>
                <a:gridCol w="1030580">
                  <a:extLst>
                    <a:ext uri="{9D8B030D-6E8A-4147-A177-3AD203B41FA5}">
                      <a16:colId xmlns:a16="http://schemas.microsoft.com/office/drawing/2014/main" val="2043883542"/>
                    </a:ext>
                  </a:extLst>
                </a:gridCol>
                <a:gridCol w="1030580">
                  <a:extLst>
                    <a:ext uri="{9D8B030D-6E8A-4147-A177-3AD203B41FA5}">
                      <a16:colId xmlns:a16="http://schemas.microsoft.com/office/drawing/2014/main" val="764487761"/>
                    </a:ext>
                  </a:extLst>
                </a:gridCol>
                <a:gridCol w="1030580">
                  <a:extLst>
                    <a:ext uri="{9D8B030D-6E8A-4147-A177-3AD203B41FA5}">
                      <a16:colId xmlns:a16="http://schemas.microsoft.com/office/drawing/2014/main" val="826544318"/>
                    </a:ext>
                  </a:extLst>
                </a:gridCol>
              </a:tblGrid>
              <a:tr h="209735">
                <a:tc gridSpan="3">
                  <a:txBody>
                    <a:bodyPr/>
                    <a:lstStyle/>
                    <a:p>
                      <a:pPr algn="ctr" fontAlgn="b"/>
                      <a:r>
                        <a:rPr lang="en-CA" sz="900" b="1" i="0" u="none" strike="noStrike">
                          <a:solidFill>
                            <a:srgbClr val="FFFFFF"/>
                          </a:solidFill>
                          <a:effectLst/>
                          <a:latin typeface="Arial" panose="020B0604020202020204" pitchFamily="34" charset="0"/>
                        </a:rPr>
                        <a:t>EV/EBITDA Metho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0F3557"/>
                    </a:solidFill>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4213725039"/>
                  </a:ext>
                </a:extLst>
              </a:tr>
              <a:tr h="209735">
                <a:tc gridSpan="2">
                  <a:txBody>
                    <a:bodyPr/>
                    <a:lstStyle/>
                    <a:p>
                      <a:pPr algn="l" fontAlgn="b"/>
                      <a:r>
                        <a:rPr lang="en-CA" sz="900" b="0" i="0" u="none" strike="noStrike">
                          <a:solidFill>
                            <a:srgbClr val="000000"/>
                          </a:solidFill>
                          <a:effectLst/>
                          <a:latin typeface="Arial" panose="020B0604020202020204" pitchFamily="34" charset="0"/>
                        </a:rPr>
                        <a:t>Exit Multiple EV/EBITDA</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1" i="0" u="none" strike="noStrike">
                          <a:solidFill>
                            <a:srgbClr val="FFFFFF"/>
                          </a:solidFill>
                          <a:effectLst/>
                          <a:latin typeface="Arial" panose="020B0604020202020204" pitchFamily="34" charset="0"/>
                        </a:rPr>
                        <a:t>15.6x</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solidFill>
                      <a:srgbClr val="0F3557"/>
                    </a:solidFill>
                  </a:tcPr>
                </a:tc>
                <a:extLst>
                  <a:ext uri="{0D108BD9-81ED-4DB2-BD59-A6C34878D82A}">
                    <a16:rowId xmlns:a16="http://schemas.microsoft.com/office/drawing/2014/main" val="1750510447"/>
                  </a:ext>
                </a:extLst>
              </a:tr>
              <a:tr h="209735">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3601513432"/>
                  </a:ext>
                </a:extLst>
              </a:tr>
              <a:tr h="209735">
                <a:tc gridSpan="2">
                  <a:txBody>
                    <a:bodyPr/>
                    <a:lstStyle/>
                    <a:p>
                      <a:pPr algn="l" fontAlgn="b"/>
                      <a:r>
                        <a:rPr lang="en-CA" sz="900" b="0" i="0" u="none" strike="noStrike">
                          <a:solidFill>
                            <a:srgbClr val="000000"/>
                          </a:solidFill>
                          <a:effectLst/>
                          <a:latin typeface="Arial" panose="020B0604020202020204" pitchFamily="34" charset="0"/>
                        </a:rPr>
                        <a:t>Terminal Value</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3888.3</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493955803"/>
                  </a:ext>
                </a:extLst>
              </a:tr>
              <a:tr h="209735">
                <a:tc gridSpan="2">
                  <a:txBody>
                    <a:bodyPr/>
                    <a:lstStyle/>
                    <a:p>
                      <a:pPr algn="l" fontAlgn="b"/>
                      <a:r>
                        <a:rPr lang="en-CA" sz="900" b="0" i="0" u="none" strike="noStrike">
                          <a:solidFill>
                            <a:srgbClr val="000000"/>
                          </a:solidFill>
                          <a:effectLst/>
                          <a:latin typeface="Arial" panose="020B0604020202020204" pitchFamily="34" charset="0"/>
                        </a:rPr>
                        <a:t>Discount Factor</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0.456</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649767403"/>
                  </a:ext>
                </a:extLst>
              </a:tr>
              <a:tr h="209735">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792644970"/>
                  </a:ext>
                </a:extLst>
              </a:tr>
              <a:tr h="209735">
                <a:tc>
                  <a:txBody>
                    <a:bodyPr/>
                    <a:lstStyle/>
                    <a:p>
                      <a:pPr algn="l" fontAlgn="b"/>
                      <a:r>
                        <a:rPr lang="en-CA" sz="900" b="0" i="0" u="none" strike="noStrike">
                          <a:solidFill>
                            <a:srgbClr val="000000"/>
                          </a:solidFill>
                          <a:effectLst/>
                          <a:latin typeface="Arial" panose="020B0604020202020204" pitchFamily="34" charset="0"/>
                        </a:rPr>
                        <a:t>PV of FFCF</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350" marR="6350" marT="6350"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087.7</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1141164752"/>
                  </a:ext>
                </a:extLst>
              </a:tr>
              <a:tr h="209735">
                <a:tc gridSpan="2">
                  <a:txBody>
                    <a:bodyPr/>
                    <a:lstStyle/>
                    <a:p>
                      <a:pPr algn="l" fontAlgn="b"/>
                      <a:r>
                        <a:rPr lang="en-CA" sz="900" b="0" i="0" u="none" strike="noStrike">
                          <a:solidFill>
                            <a:srgbClr val="000000"/>
                          </a:solidFill>
                          <a:effectLst/>
                          <a:latin typeface="Arial" panose="020B0604020202020204" pitchFamily="34" charset="0"/>
                        </a:rPr>
                        <a:t>PV of Terminal Value</a:t>
                      </a:r>
                    </a:p>
                  </a:txBody>
                  <a:tcPr marL="6350" marR="6350" marT="635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772.0</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916115"/>
                  </a:ext>
                </a:extLst>
              </a:tr>
              <a:tr h="209735">
                <a:tc gridSpan="2">
                  <a:txBody>
                    <a:bodyPr/>
                    <a:lstStyle/>
                    <a:p>
                      <a:pPr algn="l" fontAlgn="b"/>
                      <a:r>
                        <a:rPr lang="en-CA" sz="900" b="0" i="0" u="none" strike="noStrike">
                          <a:solidFill>
                            <a:srgbClr val="000000"/>
                          </a:solidFill>
                          <a:effectLst/>
                          <a:latin typeface="Arial" panose="020B0604020202020204" pitchFamily="34" charset="0"/>
                        </a:rPr>
                        <a:t>Implied Enterprise Value</a:t>
                      </a:r>
                    </a:p>
                  </a:txBody>
                  <a:tcPr marL="6350" marR="6350" marT="635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2859.7</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715234099"/>
                  </a:ext>
                </a:extLst>
              </a:tr>
              <a:tr h="209735">
                <a:tc gridSpan="2">
                  <a:txBody>
                    <a:bodyPr/>
                    <a:lstStyle/>
                    <a:p>
                      <a:pPr algn="l" fontAlgn="b"/>
                      <a:r>
                        <a:rPr lang="en-CA" sz="900" b="0" i="0" u="none" strike="noStrike">
                          <a:solidFill>
                            <a:srgbClr val="000000"/>
                          </a:solidFill>
                          <a:effectLst/>
                          <a:latin typeface="Arial" panose="020B0604020202020204" pitchFamily="34" charset="0"/>
                        </a:rPr>
                        <a:t>(+) Cash &amp; Cash Equivalents</a:t>
                      </a:r>
                    </a:p>
                  </a:txBody>
                  <a:tcPr marL="6350" marR="6350" marT="6350" marB="0" anchor="b">
                    <a:lnL w="12700" cap="flat" cmpd="sng" algn="ctr">
                      <a:solidFill>
                        <a:schemeClr val="tx1"/>
                      </a:solidFill>
                      <a:prstDash val="solid"/>
                      <a:round/>
                      <a:headEnd type="none" w="med" len="med"/>
                      <a:tailEnd type="none" w="med" len="med"/>
                    </a:lnL>
                    <a:lnR>
                      <a:noFill/>
                    </a:lnR>
                    <a:lnT>
                      <a:noFill/>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222.9</a:t>
                      </a:r>
                    </a:p>
                  </a:txBody>
                  <a:tcPr marL="6350" marR="6350" marT="6350" marB="0" anchor="b">
                    <a:lnL>
                      <a:noFill/>
                    </a:lnL>
                    <a:lnR w="12700" cap="flat" cmpd="sng" algn="ctr">
                      <a:solidFill>
                        <a:schemeClr val="tx1"/>
                      </a:solidFill>
                      <a:prstDash val="solid"/>
                      <a:round/>
                      <a:headEnd type="none" w="med" len="med"/>
                      <a:tailEnd type="none" w="med" len="med"/>
                    </a:lnR>
                    <a:lnT>
                      <a:noFill/>
                    </a:lnT>
                    <a:lnB>
                      <a:noFill/>
                    </a:lnB>
                    <a:noFill/>
                  </a:tcPr>
                </a:tc>
                <a:extLst>
                  <a:ext uri="{0D108BD9-81ED-4DB2-BD59-A6C34878D82A}">
                    <a16:rowId xmlns:a16="http://schemas.microsoft.com/office/drawing/2014/main" val="2375474258"/>
                  </a:ext>
                </a:extLst>
              </a:tr>
              <a:tr h="209735">
                <a:tc>
                  <a:txBody>
                    <a:bodyPr/>
                    <a:lstStyle/>
                    <a:p>
                      <a:pPr algn="l" fontAlgn="b"/>
                      <a:r>
                        <a:rPr lang="en-CA" sz="900" b="0" i="0" u="none" strike="noStrike">
                          <a:solidFill>
                            <a:srgbClr val="000000"/>
                          </a:solidFill>
                          <a:effectLst/>
                          <a:latin typeface="Arial" panose="020B0604020202020204" pitchFamily="34" charset="0"/>
                        </a:rPr>
                        <a:t>(-) Total Debt</a:t>
                      </a:r>
                    </a:p>
                  </a:txBody>
                  <a:tcPr marL="6350" marR="6350" marT="635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900" b="0" i="0" u="none" strike="noStrike">
                          <a:solidFill>
                            <a:srgbClr val="000000"/>
                          </a:solidFill>
                          <a:effectLst/>
                          <a:latin typeface="Arial" panose="020B0604020202020204" pitchFamily="34" charset="0"/>
                        </a:rPr>
                        <a:t> </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49.8</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2402382"/>
                  </a:ext>
                </a:extLst>
              </a:tr>
              <a:tr h="209735">
                <a:tc gridSpan="2">
                  <a:txBody>
                    <a:bodyPr/>
                    <a:lstStyle/>
                    <a:p>
                      <a:pPr algn="l" fontAlgn="b"/>
                      <a:r>
                        <a:rPr lang="en-CA" sz="900" b="0" i="0" u="none" strike="noStrike">
                          <a:solidFill>
                            <a:srgbClr val="000000"/>
                          </a:solidFill>
                          <a:effectLst/>
                          <a:latin typeface="Arial" panose="020B0604020202020204" pitchFamily="34" charset="0"/>
                        </a:rPr>
                        <a:t>Implied Equity Value</a:t>
                      </a:r>
                    </a:p>
                  </a:txBody>
                  <a:tcPr marL="6350" marR="6350" marT="635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3032.8</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397835138"/>
                  </a:ext>
                </a:extLst>
              </a:tr>
              <a:tr h="209735">
                <a:tc>
                  <a:txBody>
                    <a:bodyPr/>
                    <a:lstStyle/>
                    <a:p>
                      <a:pPr algn="l" fontAlgn="b"/>
                      <a:r>
                        <a:rPr lang="en-CA" sz="900" b="0" i="0" u="none" strike="noStrike">
                          <a:solidFill>
                            <a:srgbClr val="000000"/>
                          </a:solidFill>
                          <a:effectLst/>
                          <a:latin typeface="Arial" panose="020B0604020202020204" pitchFamily="34" charset="0"/>
                        </a:rPr>
                        <a:t>FDSO</a:t>
                      </a:r>
                    </a:p>
                  </a:txBody>
                  <a:tcPr marL="6350" marR="6350" marT="635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900" b="0" i="0" u="none" strike="noStrike">
                          <a:solidFill>
                            <a:srgbClr val="000000"/>
                          </a:solidFill>
                          <a:effectLst/>
                          <a:latin typeface="Arial" panose="020B0604020202020204" pitchFamily="34" charset="0"/>
                        </a:rPr>
                        <a:t> </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17.93</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86648413"/>
                  </a:ext>
                </a:extLst>
              </a:tr>
              <a:tr h="209735">
                <a:tc gridSpan="2">
                  <a:txBody>
                    <a:bodyPr/>
                    <a:lstStyle/>
                    <a:p>
                      <a:pPr algn="l" fontAlgn="b"/>
                      <a:r>
                        <a:rPr lang="en-CA" sz="900" b="0" i="0" u="none" strike="noStrike">
                          <a:solidFill>
                            <a:srgbClr val="000000"/>
                          </a:solidFill>
                          <a:effectLst/>
                          <a:latin typeface="Arial" panose="020B0604020202020204" pitchFamily="34" charset="0"/>
                        </a:rPr>
                        <a:t>Implied Share Price</a:t>
                      </a:r>
                    </a:p>
                  </a:txBody>
                  <a:tcPr marL="6350" marR="6350" marT="635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69.1</a:t>
                      </a:r>
                    </a:p>
                  </a:txBody>
                  <a:tcPr marL="6350" marR="6350" marT="635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294179336"/>
                  </a:ext>
                </a:extLst>
              </a:tr>
              <a:tr h="209735">
                <a:tc gridSpan="2">
                  <a:txBody>
                    <a:bodyPr/>
                    <a:lstStyle/>
                    <a:p>
                      <a:pPr algn="l" fontAlgn="b"/>
                      <a:r>
                        <a:rPr lang="en-CA" sz="900" b="0" i="0" u="none" strike="noStrike">
                          <a:solidFill>
                            <a:srgbClr val="000000"/>
                          </a:solidFill>
                          <a:effectLst/>
                          <a:latin typeface="Arial" panose="020B0604020202020204" pitchFamily="34" charset="0"/>
                        </a:rPr>
                        <a:t>Current Share Price</a:t>
                      </a:r>
                    </a:p>
                  </a:txBody>
                  <a:tcPr marL="6350" marR="6350" marT="635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122.84</a:t>
                      </a:r>
                    </a:p>
                  </a:txBody>
                  <a:tcPr marL="6350" marR="6350" marT="635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9750488"/>
                  </a:ext>
                </a:extLst>
              </a:tr>
              <a:tr h="209735">
                <a:tc gridSpan="2">
                  <a:txBody>
                    <a:bodyPr/>
                    <a:lstStyle/>
                    <a:p>
                      <a:pPr algn="l" fontAlgn="b"/>
                      <a:r>
                        <a:rPr lang="en-CA" sz="900" b="0" i="0" u="none" strike="noStrike">
                          <a:solidFill>
                            <a:srgbClr val="000000"/>
                          </a:solidFill>
                          <a:effectLst/>
                          <a:latin typeface="Arial" panose="020B0604020202020204" pitchFamily="34" charset="0"/>
                        </a:rPr>
                        <a:t>Implied Change</a:t>
                      </a:r>
                    </a:p>
                  </a:txBody>
                  <a:tcPr marL="6350" marR="6350" marT="635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CA"/>
                    </a:p>
                  </a:txBody>
                  <a:tcPr/>
                </a:tc>
                <a:tc>
                  <a:txBody>
                    <a:bodyPr/>
                    <a:lstStyle/>
                    <a:p>
                      <a:pPr algn="r" fontAlgn="b"/>
                      <a:r>
                        <a:rPr lang="en-CA" sz="900" b="0" i="0" u="none" strike="noStrike">
                          <a:solidFill>
                            <a:srgbClr val="000000"/>
                          </a:solidFill>
                          <a:effectLst/>
                          <a:latin typeface="Arial" panose="020B0604020202020204" pitchFamily="34" charset="0"/>
                        </a:rPr>
                        <a:t>37.70%</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B954"/>
                    </a:solidFill>
                  </a:tcPr>
                </a:tc>
                <a:extLst>
                  <a:ext uri="{0D108BD9-81ED-4DB2-BD59-A6C34878D82A}">
                    <a16:rowId xmlns:a16="http://schemas.microsoft.com/office/drawing/2014/main" val="1101724269"/>
                  </a:ext>
                </a:extLst>
              </a:tr>
            </a:tbl>
          </a:graphicData>
        </a:graphic>
      </p:graphicFrame>
    </p:spTree>
    <p:extLst>
      <p:ext uri="{BB962C8B-B14F-4D97-AF65-F5344CB8AC3E}">
        <p14:creationId xmlns:p14="http://schemas.microsoft.com/office/powerpoint/2010/main" val="18261489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AB682F-B9E0-4396-E75B-7BE526D9D943}"/>
              </a:ext>
            </a:extLst>
          </p:cNvPr>
          <p:cNvSpPr>
            <a:spLocks noGrp="1"/>
          </p:cNvSpPr>
          <p:nvPr>
            <p:ph type="body" sz="quarter" idx="21"/>
          </p:nvPr>
        </p:nvSpPr>
        <p:spPr/>
        <p:txBody>
          <a:bodyPr/>
          <a:lstStyle/>
          <a:p>
            <a:r>
              <a:rPr lang="en-CA"/>
              <a:t>WACC of 8.18%</a:t>
            </a:r>
          </a:p>
        </p:txBody>
      </p:sp>
      <p:graphicFrame>
        <p:nvGraphicFramePr>
          <p:cNvPr id="6" name="Table Placeholder 5">
            <a:extLst>
              <a:ext uri="{FF2B5EF4-FFF2-40B4-BE49-F238E27FC236}">
                <a16:creationId xmlns:a16="http://schemas.microsoft.com/office/drawing/2014/main" id="{B239EAA1-7297-BDB1-5910-65DE10C3B678}"/>
              </a:ext>
            </a:extLst>
          </p:cNvPr>
          <p:cNvGraphicFramePr>
            <a:graphicFrameLocks noGrp="1"/>
          </p:cNvGraphicFramePr>
          <p:nvPr>
            <p:ph type="tbl" sz="quarter" idx="14"/>
            <p:extLst>
              <p:ext uri="{D42A27DB-BD31-4B8C-83A1-F6EECF244321}">
                <p14:modId xmlns:p14="http://schemas.microsoft.com/office/powerpoint/2010/main" val="2745024449"/>
              </p:ext>
            </p:extLst>
          </p:nvPr>
        </p:nvGraphicFramePr>
        <p:xfrm>
          <a:off x="250825" y="1473200"/>
          <a:ext cx="8642350" cy="4013205"/>
        </p:xfrm>
        <a:graphic>
          <a:graphicData uri="http://schemas.openxmlformats.org/drawingml/2006/table">
            <a:tbl>
              <a:tblPr/>
              <a:tblGrid>
                <a:gridCol w="2175696">
                  <a:extLst>
                    <a:ext uri="{9D8B030D-6E8A-4147-A177-3AD203B41FA5}">
                      <a16:colId xmlns:a16="http://schemas.microsoft.com/office/drawing/2014/main" val="142148925"/>
                    </a:ext>
                  </a:extLst>
                </a:gridCol>
                <a:gridCol w="701058">
                  <a:extLst>
                    <a:ext uri="{9D8B030D-6E8A-4147-A177-3AD203B41FA5}">
                      <a16:colId xmlns:a16="http://schemas.microsoft.com/office/drawing/2014/main" val="3726310208"/>
                    </a:ext>
                  </a:extLst>
                </a:gridCol>
                <a:gridCol w="725232">
                  <a:extLst>
                    <a:ext uri="{9D8B030D-6E8A-4147-A177-3AD203B41FA5}">
                      <a16:colId xmlns:a16="http://schemas.microsoft.com/office/drawing/2014/main" val="3490196805"/>
                    </a:ext>
                  </a:extLst>
                </a:gridCol>
                <a:gridCol w="1124110">
                  <a:extLst>
                    <a:ext uri="{9D8B030D-6E8A-4147-A177-3AD203B41FA5}">
                      <a16:colId xmlns:a16="http://schemas.microsoft.com/office/drawing/2014/main" val="866475359"/>
                    </a:ext>
                  </a:extLst>
                </a:gridCol>
                <a:gridCol w="713145">
                  <a:extLst>
                    <a:ext uri="{9D8B030D-6E8A-4147-A177-3AD203B41FA5}">
                      <a16:colId xmlns:a16="http://schemas.microsoft.com/office/drawing/2014/main" val="170277907"/>
                    </a:ext>
                  </a:extLst>
                </a:gridCol>
                <a:gridCol w="713145">
                  <a:extLst>
                    <a:ext uri="{9D8B030D-6E8A-4147-A177-3AD203B41FA5}">
                      <a16:colId xmlns:a16="http://schemas.microsoft.com/office/drawing/2014/main" val="634812846"/>
                    </a:ext>
                  </a:extLst>
                </a:gridCol>
                <a:gridCol w="1063674">
                  <a:extLst>
                    <a:ext uri="{9D8B030D-6E8A-4147-A177-3AD203B41FA5}">
                      <a16:colId xmlns:a16="http://schemas.microsoft.com/office/drawing/2014/main" val="293807275"/>
                    </a:ext>
                  </a:extLst>
                </a:gridCol>
                <a:gridCol w="713145">
                  <a:extLst>
                    <a:ext uri="{9D8B030D-6E8A-4147-A177-3AD203B41FA5}">
                      <a16:colId xmlns:a16="http://schemas.microsoft.com/office/drawing/2014/main" val="3630358969"/>
                    </a:ext>
                  </a:extLst>
                </a:gridCol>
                <a:gridCol w="713145">
                  <a:extLst>
                    <a:ext uri="{9D8B030D-6E8A-4147-A177-3AD203B41FA5}">
                      <a16:colId xmlns:a16="http://schemas.microsoft.com/office/drawing/2014/main" val="1007367914"/>
                    </a:ext>
                  </a:extLst>
                </a:gridCol>
              </a:tblGrid>
              <a:tr h="417235">
                <a:tc>
                  <a:txBody>
                    <a:bodyPr/>
                    <a:lstStyle/>
                    <a:p>
                      <a:pPr algn="ctr" fontAlgn="b"/>
                      <a:r>
                        <a:rPr lang="en-CA" sz="900" b="1" i="0" u="none" strike="noStrike">
                          <a:solidFill>
                            <a:srgbClr val="FFFFFF"/>
                          </a:solidFill>
                          <a:effectLst/>
                          <a:latin typeface="Arial" panose="020B0604020202020204" pitchFamily="34" charset="0"/>
                        </a:rPr>
                        <a:t>Company Name</a:t>
                      </a:r>
                    </a:p>
                  </a:txBody>
                  <a:tcPr marL="6044" marR="6044" marT="604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rPr>
                        <a:t>Levered Beta</a:t>
                      </a: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rPr>
                        <a:t>Total Debt</a:t>
                      </a: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rPr>
                        <a:t>Debt %</a:t>
                      </a: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rPr>
                        <a:t>Equity</a:t>
                      </a: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rPr>
                        <a:t>Equity %</a:t>
                      </a: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ctr" fontAlgn="b"/>
                      <a:r>
                        <a:rPr lang="en-CA" sz="900" b="1" i="0" u="none" strike="noStrike">
                          <a:solidFill>
                            <a:srgbClr val="FFFFFF"/>
                          </a:solidFill>
                          <a:effectLst/>
                          <a:latin typeface="Arial" panose="020B0604020202020204" pitchFamily="34" charset="0"/>
                        </a:rPr>
                        <a:t>Unlevered Beta</a:t>
                      </a:r>
                    </a:p>
                  </a:txBody>
                  <a:tcPr marL="6044" marR="6044" marT="604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a:txBody>
                    <a:bodyPr/>
                    <a:lstStyle/>
                    <a:p>
                      <a:pPr algn="l" fontAlgn="b"/>
                      <a:endParaRPr lang="en-CA" sz="900" b="1"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CA" sz="900" b="1" i="0" u="none" strike="noStrike">
                          <a:solidFill>
                            <a:srgbClr val="FFFFFF"/>
                          </a:solidFill>
                          <a:effectLst/>
                          <a:latin typeface="Arial" panose="020B0604020202020204" pitchFamily="34" charset="0"/>
                        </a:rPr>
                        <a:t>Tax Rate</a:t>
                      </a: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extLst>
                  <a:ext uri="{0D108BD9-81ED-4DB2-BD59-A6C34878D82A}">
                    <a16:rowId xmlns:a16="http://schemas.microsoft.com/office/drawing/2014/main" val="3741389943"/>
                  </a:ext>
                </a:extLst>
              </a:tr>
              <a:tr h="213115">
                <a:tc>
                  <a:txBody>
                    <a:bodyPr/>
                    <a:lstStyle/>
                    <a:p>
                      <a:pPr algn="l" fontAlgn="b"/>
                      <a:r>
                        <a:rPr lang="en-CA" sz="900" b="0" i="0" u="none" strike="noStrike">
                          <a:solidFill>
                            <a:srgbClr val="000000"/>
                          </a:solidFill>
                          <a:effectLst/>
                          <a:latin typeface="Arial" panose="020B0604020202020204" pitchFamily="34" charset="0"/>
                        </a:rPr>
                        <a:t> </a:t>
                      </a:r>
                    </a:p>
                  </a:txBody>
                  <a:tcPr marL="6044" marR="6044" marT="604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70C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70C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en-CA" sz="900" b="0" i="0" u="none" strike="noStrike">
                          <a:solidFill>
                            <a:srgbClr val="000000"/>
                          </a:solidFill>
                          <a:effectLst/>
                          <a:latin typeface="Arial" panose="020B0604020202020204" pitchFamily="34" charset="0"/>
                        </a:rPr>
                        <a:t> </a:t>
                      </a:r>
                    </a:p>
                  </a:txBody>
                  <a:tcPr marL="6044" marR="6044" marT="604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70C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CA" sz="900" b="0" i="0" u="none" strike="noStrike">
                          <a:solidFill>
                            <a:srgbClr val="000000"/>
                          </a:solidFill>
                          <a:effectLst/>
                          <a:latin typeface="Arial" panose="020B0604020202020204" pitchFamily="34" charset="0"/>
                        </a:rPr>
                        <a:t>17.00%</a:t>
                      </a: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315072"/>
                  </a:ext>
                </a:extLst>
              </a:tr>
              <a:tr h="213115">
                <a:tc>
                  <a:txBody>
                    <a:bodyPr/>
                    <a:lstStyle/>
                    <a:p>
                      <a:pPr algn="l" fontAlgn="b"/>
                      <a:r>
                        <a:rPr lang="en-CA" sz="900" b="0" i="0" u="none" strike="noStrike">
                          <a:solidFill>
                            <a:srgbClr val="000000"/>
                          </a:solidFill>
                          <a:effectLst/>
                          <a:latin typeface="Arial" panose="020B0604020202020204" pitchFamily="34" charset="0"/>
                        </a:rPr>
                        <a:t>Amedisys, Inc (NASDAQ: AMED)</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0.78</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487.2</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4.14%</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2959.5</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85.86%</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0.92</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70C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477626448"/>
                  </a:ext>
                </a:extLst>
              </a:tr>
              <a:tr h="417235">
                <a:tc>
                  <a:txBody>
                    <a:bodyPr/>
                    <a:lstStyle/>
                    <a:p>
                      <a:pPr algn="l" fontAlgn="b"/>
                      <a:r>
                        <a:rPr lang="en-US" sz="900" b="0" i="0" u="none" strike="noStrike">
                          <a:solidFill>
                            <a:srgbClr val="000000"/>
                          </a:solidFill>
                          <a:effectLst/>
                          <a:latin typeface="Arial" panose="020B0604020202020204" pitchFamily="34" charset="0"/>
                        </a:rPr>
                        <a:t>Encompass Health Corporation (NYSE: EHC)</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0.78</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2527</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9.59%</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0371.2</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80.41%</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0.98</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extLst>
                  <a:ext uri="{0D108BD9-81ED-4DB2-BD59-A6C34878D82A}">
                    <a16:rowId xmlns:a16="http://schemas.microsoft.com/office/drawing/2014/main" val="2056046279"/>
                  </a:ext>
                </a:extLst>
              </a:tr>
              <a:tr h="213115">
                <a:tc>
                  <a:txBody>
                    <a:bodyPr/>
                    <a:lstStyle/>
                    <a:p>
                      <a:pPr algn="l" fontAlgn="b"/>
                      <a:r>
                        <a:rPr lang="en-CA" sz="900" b="0" i="0" u="none" strike="noStrike">
                          <a:solidFill>
                            <a:srgbClr val="000000"/>
                          </a:solidFill>
                          <a:effectLst/>
                          <a:latin typeface="Arial" panose="020B0604020202020204" pitchFamily="34" charset="0"/>
                        </a:rPr>
                        <a:t>Chemed Corporation (NYSE: CHE)</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0.46</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39.4</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63%</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8401.2</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98.37%</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0.47</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extLst>
                  <a:ext uri="{0D108BD9-81ED-4DB2-BD59-A6C34878D82A}">
                    <a16:rowId xmlns:a16="http://schemas.microsoft.com/office/drawing/2014/main" val="297854843"/>
                  </a:ext>
                </a:extLst>
              </a:tr>
              <a:tr h="213115">
                <a:tc>
                  <a:txBody>
                    <a:bodyPr/>
                    <a:lstStyle/>
                    <a:p>
                      <a:pPr algn="l" fontAlgn="b"/>
                      <a:r>
                        <a:rPr lang="en-CA" sz="900" b="0" i="0" u="none" strike="noStrike">
                          <a:solidFill>
                            <a:srgbClr val="000000"/>
                          </a:solidFill>
                          <a:effectLst/>
                          <a:latin typeface="Arial" panose="020B0604020202020204" pitchFamily="34" charset="0"/>
                        </a:rPr>
                        <a:t> </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tc>
                  <a:txBody>
                    <a:bodyPr/>
                    <a:lstStyle/>
                    <a:p>
                      <a:pPr algn="l" fontAlgn="b"/>
                      <a:r>
                        <a:rPr lang="en-CA" sz="900" b="0" i="0" u="none" strike="noStrike">
                          <a:solidFill>
                            <a:srgbClr val="000000"/>
                          </a:solidFill>
                          <a:effectLst/>
                          <a:latin typeface="Arial" panose="020B0604020202020204" pitchFamily="34" charset="0"/>
                        </a:rPr>
                        <a:t> </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extLst>
                  <a:ext uri="{0D108BD9-81ED-4DB2-BD59-A6C34878D82A}">
                    <a16:rowId xmlns:a16="http://schemas.microsoft.com/office/drawing/2014/main" val="3217349440"/>
                  </a:ext>
                </a:extLst>
              </a:tr>
              <a:tr h="213115">
                <a:tc>
                  <a:txBody>
                    <a:bodyPr/>
                    <a:lstStyle/>
                    <a:p>
                      <a:pPr algn="l" fontAlgn="b"/>
                      <a:r>
                        <a:rPr lang="en-CA" sz="900" b="0" i="0" u="none" strike="noStrike">
                          <a:solidFill>
                            <a:srgbClr val="000000"/>
                          </a:solidFill>
                          <a:effectLst/>
                          <a:latin typeface="Arial" panose="020B0604020202020204" pitchFamily="34" charset="0"/>
                        </a:rPr>
                        <a:t>Addus Homecare (NASDAQ: ADUS)</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04</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75.2</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7.19%</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2262.1</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92.81%</a:t>
                      </a:r>
                    </a:p>
                  </a:txBody>
                  <a:tcPr marL="6044" marR="6044" marT="6044" marB="0" anchor="b">
                    <a:lnL>
                      <a:noFill/>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10</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extLst>
                  <a:ext uri="{0D108BD9-81ED-4DB2-BD59-A6C34878D82A}">
                    <a16:rowId xmlns:a16="http://schemas.microsoft.com/office/drawing/2014/main" val="1498052144"/>
                  </a:ext>
                </a:extLst>
              </a:tr>
              <a:tr h="213115">
                <a:tc>
                  <a:txBody>
                    <a:bodyPr/>
                    <a:lstStyle/>
                    <a:p>
                      <a:pPr algn="l" fontAlgn="b"/>
                      <a:r>
                        <a:rPr lang="en-CA" sz="900" b="0" i="0" u="none" strike="noStrike">
                          <a:solidFill>
                            <a:srgbClr val="000000"/>
                          </a:solidFill>
                          <a:effectLst/>
                          <a:latin typeface="Arial" panose="020B0604020202020204" pitchFamily="34" charset="0"/>
                        </a:rPr>
                        <a:t> </a:t>
                      </a:r>
                    </a:p>
                  </a:txBody>
                  <a:tcPr marL="6044" marR="6044" marT="604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FFFFFF"/>
                        </a:solidFill>
                        <a:effectLst/>
                        <a:latin typeface="Arial" panose="020B0604020202020204" pitchFamily="34" charset="0"/>
                      </a:endParaRPr>
                    </a:p>
                  </a:txBody>
                  <a:tcPr marL="6044" marR="6044" marT="60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FFFFFF"/>
                        </a:solidFill>
                        <a:effectLst/>
                        <a:latin typeface="Arial" panose="020B0604020202020204" pitchFamily="34" charset="0"/>
                      </a:endParaRPr>
                    </a:p>
                  </a:txBody>
                  <a:tcPr marL="6044" marR="6044" marT="60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en-CA" sz="900" b="0" i="0" u="none" strike="noStrike">
                          <a:solidFill>
                            <a:srgbClr val="000000"/>
                          </a:solidFill>
                          <a:effectLst/>
                          <a:latin typeface="Arial" panose="020B0604020202020204" pitchFamily="34" charset="0"/>
                        </a:rPr>
                        <a:t> </a:t>
                      </a:r>
                    </a:p>
                  </a:txBody>
                  <a:tcPr marL="6044" marR="6044" marT="6044"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extLst>
                  <a:ext uri="{0D108BD9-81ED-4DB2-BD59-A6C34878D82A}">
                    <a16:rowId xmlns:a16="http://schemas.microsoft.com/office/drawing/2014/main" val="1464734566"/>
                  </a:ext>
                </a:extLst>
              </a:tr>
              <a:tr h="213115">
                <a:tc>
                  <a:txBody>
                    <a:bodyPr/>
                    <a:lstStyle/>
                    <a:p>
                      <a:pPr algn="ctr" fontAlgn="b"/>
                      <a:r>
                        <a:rPr lang="en-CA" sz="900" b="1" i="0" u="none" strike="noStrike">
                          <a:solidFill>
                            <a:srgbClr val="000000"/>
                          </a:solidFill>
                          <a:effectLst/>
                          <a:latin typeface="Arial" panose="020B0604020202020204" pitchFamily="34" charset="0"/>
                        </a:rPr>
                        <a:t>Average</a:t>
                      </a:r>
                    </a:p>
                  </a:txBody>
                  <a:tcPr marL="6044" marR="6044" marT="604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0.77</a:t>
                      </a: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832.2</a:t>
                      </a: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10.64%</a:t>
                      </a: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5998.5</a:t>
                      </a: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89.36%</a:t>
                      </a: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0.87</a:t>
                      </a:r>
                    </a:p>
                  </a:txBody>
                  <a:tcPr marL="6044" marR="6044" marT="604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extLst>
                  <a:ext uri="{0D108BD9-81ED-4DB2-BD59-A6C34878D82A}">
                    <a16:rowId xmlns:a16="http://schemas.microsoft.com/office/drawing/2014/main" val="529495537"/>
                  </a:ext>
                </a:extLst>
              </a:tr>
              <a:tr h="213115">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a:noFill/>
                    </a:lnL>
                    <a:lnR>
                      <a:noFill/>
                    </a:lnR>
                    <a:lnT>
                      <a:noFill/>
                    </a:lnT>
                    <a:lnB>
                      <a:noFill/>
                    </a:lnB>
                    <a:noFill/>
                  </a:tcPr>
                </a:tc>
                <a:extLst>
                  <a:ext uri="{0D108BD9-81ED-4DB2-BD59-A6C34878D82A}">
                    <a16:rowId xmlns:a16="http://schemas.microsoft.com/office/drawing/2014/main" val="2826325701"/>
                  </a:ext>
                </a:extLst>
              </a:tr>
              <a:tr h="213115">
                <a:tc gridSpan="2">
                  <a:txBody>
                    <a:bodyPr/>
                    <a:lstStyle/>
                    <a:p>
                      <a:pPr algn="ctr" fontAlgn="b"/>
                      <a:r>
                        <a:rPr lang="en-CA" sz="900" b="1" i="0" u="none" strike="noStrike">
                          <a:solidFill>
                            <a:srgbClr val="FFFFFF"/>
                          </a:solidFill>
                          <a:effectLst/>
                          <a:latin typeface="Arial" panose="020B0604020202020204" pitchFamily="34" charset="0"/>
                        </a:rPr>
                        <a:t>Beta</a:t>
                      </a: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CA"/>
                    </a:p>
                  </a:txBody>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gridSpan="2">
                  <a:txBody>
                    <a:bodyPr/>
                    <a:lstStyle/>
                    <a:p>
                      <a:pPr algn="ctr" fontAlgn="b"/>
                      <a:r>
                        <a:rPr lang="en-CA" sz="900" b="1" i="0" u="none" strike="noStrike">
                          <a:solidFill>
                            <a:srgbClr val="FFFFFF"/>
                          </a:solidFill>
                          <a:effectLst/>
                          <a:latin typeface="Arial" panose="020B0604020202020204" pitchFamily="34" charset="0"/>
                        </a:rPr>
                        <a:t>Debt</a:t>
                      </a: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CA"/>
                    </a:p>
                  </a:txBody>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gridSpan="2">
                  <a:txBody>
                    <a:bodyPr/>
                    <a:lstStyle/>
                    <a:p>
                      <a:pPr algn="ctr" fontAlgn="b"/>
                      <a:r>
                        <a:rPr lang="en-CA" sz="900" b="1" i="0" u="none" strike="noStrike">
                          <a:solidFill>
                            <a:srgbClr val="FFFFFF"/>
                          </a:solidFill>
                          <a:effectLst/>
                          <a:latin typeface="Arial" panose="020B0604020202020204" pitchFamily="34" charset="0"/>
                        </a:rPr>
                        <a:t>WACC</a:t>
                      </a: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F3557"/>
                    </a:solidFill>
                  </a:tcPr>
                </a:tc>
                <a:tc hMerge="1">
                  <a:txBody>
                    <a:bodyPr/>
                    <a:lstStyle/>
                    <a:p>
                      <a:endParaRPr lang="en-CA"/>
                    </a:p>
                  </a:txBody>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287904482"/>
                  </a:ext>
                </a:extLst>
              </a:tr>
              <a:tr h="417235">
                <a:tc>
                  <a:txBody>
                    <a:bodyPr/>
                    <a:lstStyle/>
                    <a:p>
                      <a:pPr algn="l" fontAlgn="b"/>
                      <a:r>
                        <a:rPr lang="en-CA" sz="900" b="0" i="0" u="none" strike="noStrike">
                          <a:solidFill>
                            <a:srgbClr val="000000"/>
                          </a:solidFill>
                          <a:effectLst/>
                          <a:latin typeface="Arial" panose="020B0604020202020204" pitchFamily="34" charset="0"/>
                        </a:rPr>
                        <a:t>Unlevered Beta</a:t>
                      </a:r>
                    </a:p>
                  </a:txBody>
                  <a:tcPr marL="6044" marR="6044" marT="604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900" b="0" i="0" u="none" strike="noStrike">
                          <a:solidFill>
                            <a:srgbClr val="000000"/>
                          </a:solidFill>
                          <a:effectLst/>
                          <a:latin typeface="Arial" panose="020B0604020202020204" pitchFamily="34" charset="0"/>
                        </a:rPr>
                        <a:t>1.10</a:t>
                      </a:r>
                    </a:p>
                  </a:txBody>
                  <a:tcPr marL="6044" marR="6044" marT="604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CA" sz="900" b="0" i="0" u="none" strike="noStrike">
                          <a:solidFill>
                            <a:srgbClr val="000000"/>
                          </a:solidFill>
                          <a:effectLst/>
                          <a:latin typeface="Arial" panose="020B0604020202020204" pitchFamily="34" charset="0"/>
                        </a:rPr>
                        <a:t>Risk Free Rate</a:t>
                      </a:r>
                    </a:p>
                  </a:txBody>
                  <a:tcPr marL="6044" marR="6044" marT="604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900" b="0" i="0" u="none" strike="noStrike">
                          <a:solidFill>
                            <a:srgbClr val="000000"/>
                          </a:solidFill>
                          <a:effectLst/>
                          <a:latin typeface="Arial" panose="020B0604020202020204" pitchFamily="34" charset="0"/>
                        </a:rPr>
                        <a:t>4.41%</a:t>
                      </a:r>
                    </a:p>
                  </a:txBody>
                  <a:tcPr marL="6044" marR="6044" marT="604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CA" sz="900" b="0" i="0" u="none" strike="noStrike">
                          <a:solidFill>
                            <a:srgbClr val="000000"/>
                          </a:solidFill>
                          <a:effectLst/>
                          <a:latin typeface="Arial" panose="020B0604020202020204" pitchFamily="34" charset="0"/>
                        </a:rPr>
                        <a:t>Equity Risk Premium</a:t>
                      </a:r>
                    </a:p>
                  </a:txBody>
                  <a:tcPr marL="6044" marR="6044" marT="604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CA" sz="900" b="0" i="0" u="none" strike="noStrike">
                          <a:solidFill>
                            <a:srgbClr val="000000"/>
                          </a:solidFill>
                          <a:effectLst/>
                          <a:latin typeface="Arial" panose="020B0604020202020204" pitchFamily="34" charset="0"/>
                        </a:rPr>
                        <a:t>4.04%</a:t>
                      </a:r>
                    </a:p>
                  </a:txBody>
                  <a:tcPr marL="6044" marR="6044" marT="604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318742369"/>
                  </a:ext>
                </a:extLst>
              </a:tr>
              <a:tr h="213115">
                <a:tc>
                  <a:txBody>
                    <a:bodyPr/>
                    <a:lstStyle/>
                    <a:p>
                      <a:pPr algn="l" fontAlgn="b"/>
                      <a:r>
                        <a:rPr lang="en-CA" sz="900" b="0" i="0" u="none" strike="noStrike">
                          <a:solidFill>
                            <a:srgbClr val="000000"/>
                          </a:solidFill>
                          <a:effectLst/>
                          <a:latin typeface="Arial" panose="020B0604020202020204" pitchFamily="34" charset="0"/>
                        </a:rPr>
                        <a:t>Optimal Debt Structure</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0.64%</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CA" sz="900" b="0" i="0" u="none" strike="noStrike">
                          <a:solidFill>
                            <a:srgbClr val="000000"/>
                          </a:solidFill>
                          <a:effectLst/>
                          <a:latin typeface="Arial" panose="020B0604020202020204" pitchFamily="34" charset="0"/>
                        </a:rPr>
                        <a:t>Borrowing Spread</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0.70%</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CA" sz="900" b="0" i="0" u="none" strike="noStrike">
                          <a:solidFill>
                            <a:srgbClr val="000000"/>
                          </a:solidFill>
                          <a:effectLst/>
                          <a:latin typeface="Arial" panose="020B0604020202020204" pitchFamily="34" charset="0"/>
                        </a:rPr>
                        <a:t>Re-Levered Beta</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1.05</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726927397"/>
                  </a:ext>
                </a:extLst>
              </a:tr>
              <a:tr h="213115">
                <a:tc>
                  <a:txBody>
                    <a:bodyPr/>
                    <a:lstStyle/>
                    <a:p>
                      <a:pPr algn="l" fontAlgn="b"/>
                      <a:r>
                        <a:rPr lang="en-CA" sz="900" b="0" i="0" u="none" strike="noStrike">
                          <a:solidFill>
                            <a:srgbClr val="000000"/>
                          </a:solidFill>
                          <a:effectLst/>
                          <a:latin typeface="Arial" panose="020B0604020202020204" pitchFamily="34" charset="0"/>
                        </a:rPr>
                        <a:t>Opitmal Equity Structure</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89.36%</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CA" sz="900" b="0" i="0" u="none" strike="noStrike">
                          <a:solidFill>
                            <a:srgbClr val="000000"/>
                          </a:solidFill>
                          <a:effectLst/>
                          <a:latin typeface="Arial" panose="020B0604020202020204" pitchFamily="34" charset="0"/>
                        </a:rPr>
                        <a:t>Cost of Debt</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5.11%</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CA" sz="900" b="0" i="0" u="none" strike="noStrike">
                          <a:solidFill>
                            <a:srgbClr val="000000"/>
                          </a:solidFill>
                          <a:effectLst/>
                          <a:latin typeface="Arial" panose="020B0604020202020204" pitchFamily="34" charset="0"/>
                        </a:rPr>
                        <a:t>Cost of Equity</a:t>
                      </a: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r" fontAlgn="b"/>
                      <a:r>
                        <a:rPr lang="en-CA" sz="900" b="0" i="0" u="none" strike="noStrike">
                          <a:solidFill>
                            <a:srgbClr val="000000"/>
                          </a:solidFill>
                          <a:effectLst/>
                          <a:latin typeface="Arial" panose="020B0604020202020204" pitchFamily="34" charset="0"/>
                        </a:rPr>
                        <a:t>8.64%</a:t>
                      </a:r>
                    </a:p>
                  </a:txBody>
                  <a:tcPr marL="6044" marR="6044" marT="6044" marB="0" anchor="b">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069563787"/>
                  </a:ext>
                </a:extLst>
              </a:tr>
              <a:tr h="417235">
                <a:tc>
                  <a:txBody>
                    <a:bodyPr/>
                    <a:lstStyle/>
                    <a:p>
                      <a:pPr algn="l" fontAlgn="b"/>
                      <a:r>
                        <a:rPr lang="en-CA" sz="900" b="0" i="0" u="none" strike="noStrike">
                          <a:solidFill>
                            <a:srgbClr val="000000"/>
                          </a:solidFill>
                          <a:effectLst/>
                          <a:latin typeface="Arial" panose="020B0604020202020204" pitchFamily="34" charset="0"/>
                        </a:rPr>
                        <a:t>Re-Levered Beta</a:t>
                      </a:r>
                    </a:p>
                  </a:txBody>
                  <a:tcPr marL="6044" marR="6044" marT="604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1.05</a:t>
                      </a:r>
                    </a:p>
                  </a:txBody>
                  <a:tcPr marL="6044" marR="6044" marT="6044"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CA" sz="900" b="0" i="0" u="none" strike="noStrike">
                          <a:solidFill>
                            <a:srgbClr val="000000"/>
                          </a:solidFill>
                          <a:effectLst/>
                          <a:latin typeface="Arial" panose="020B0604020202020204" pitchFamily="34" charset="0"/>
                        </a:rPr>
                        <a:t>After-Tax Cost of Debt</a:t>
                      </a:r>
                    </a:p>
                  </a:txBody>
                  <a:tcPr marL="6044" marR="6044" marT="604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900" b="0" i="0" u="none" strike="noStrike">
                          <a:solidFill>
                            <a:srgbClr val="000000"/>
                          </a:solidFill>
                          <a:effectLst/>
                          <a:latin typeface="Arial" panose="020B0604020202020204" pitchFamily="34" charset="0"/>
                        </a:rPr>
                        <a:t>4.24%</a:t>
                      </a:r>
                    </a:p>
                  </a:txBody>
                  <a:tcPr marL="6044" marR="6044" marT="6044"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CA" sz="900" b="0" i="0" u="none" strike="noStrike">
                          <a:solidFill>
                            <a:srgbClr val="000000"/>
                          </a:solidFill>
                          <a:effectLst/>
                          <a:latin typeface="Arial" panose="020B0604020202020204" pitchFamily="34" charset="0"/>
                        </a:rPr>
                        <a:t>WACC</a:t>
                      </a:r>
                    </a:p>
                  </a:txBody>
                  <a:tcPr marL="6044" marR="6044" marT="604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r>
                        <a:rPr lang="en-CA" sz="900" b="1" i="0" u="none" strike="noStrike">
                          <a:solidFill>
                            <a:srgbClr val="000000"/>
                          </a:solidFill>
                          <a:effectLst/>
                          <a:latin typeface="Arial" panose="020B0604020202020204" pitchFamily="34" charset="0"/>
                        </a:rPr>
                        <a:t>8.18%</a:t>
                      </a:r>
                    </a:p>
                  </a:txBody>
                  <a:tcPr marL="6044" marR="6044" marT="6044"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CA" sz="900" b="0" i="0" u="none" strike="noStrike">
                        <a:solidFill>
                          <a:srgbClr val="000000"/>
                        </a:solidFill>
                        <a:effectLst/>
                        <a:latin typeface="Arial" panose="020B0604020202020204" pitchFamily="34" charset="0"/>
                      </a:endParaRPr>
                    </a:p>
                  </a:txBody>
                  <a:tcPr marL="6044" marR="6044" marT="6044" marB="0" anchor="b">
                    <a:lnL w="635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471331238"/>
                  </a:ext>
                </a:extLst>
              </a:tr>
            </a:tbl>
          </a:graphicData>
        </a:graphic>
      </p:graphicFrame>
      <p:sp>
        <p:nvSpPr>
          <p:cNvPr id="4" name="Title 3">
            <a:extLst>
              <a:ext uri="{FF2B5EF4-FFF2-40B4-BE49-F238E27FC236}">
                <a16:creationId xmlns:a16="http://schemas.microsoft.com/office/drawing/2014/main" id="{A875A511-713A-F46D-1B92-6056BAD85FEB}"/>
              </a:ext>
            </a:extLst>
          </p:cNvPr>
          <p:cNvSpPr>
            <a:spLocks noGrp="1"/>
          </p:cNvSpPr>
          <p:nvPr>
            <p:ph type="title"/>
          </p:nvPr>
        </p:nvSpPr>
        <p:spPr/>
        <p:txBody>
          <a:bodyPr/>
          <a:lstStyle/>
          <a:p>
            <a:r>
              <a:rPr lang="en-CA"/>
              <a:t>Weighted Average Cost of Capital</a:t>
            </a:r>
          </a:p>
        </p:txBody>
      </p:sp>
      <p:sp>
        <p:nvSpPr>
          <p:cNvPr id="5" name="Text Placeholder 4">
            <a:extLst>
              <a:ext uri="{FF2B5EF4-FFF2-40B4-BE49-F238E27FC236}">
                <a16:creationId xmlns:a16="http://schemas.microsoft.com/office/drawing/2014/main" id="{918752BB-4C2D-4BB1-9EFA-510387FE9E61}"/>
              </a:ext>
            </a:extLst>
          </p:cNvPr>
          <p:cNvSpPr>
            <a:spLocks noGrp="1"/>
          </p:cNvSpPr>
          <p:nvPr>
            <p:ph type="body" sz="quarter" idx="13"/>
          </p:nvPr>
        </p:nvSpPr>
        <p:spPr/>
        <p:txBody>
          <a:bodyPr/>
          <a:lstStyle/>
          <a:p>
            <a:r>
              <a:rPr lang="en-US"/>
              <a:t>Source(s): Bloomberg, Capital IQ, </a:t>
            </a:r>
            <a:r>
              <a:rPr lang="en-US" err="1"/>
              <a:t>Addus</a:t>
            </a:r>
            <a:r>
              <a:rPr lang="en-US"/>
              <a:t> 10-k</a:t>
            </a:r>
            <a:endParaRPr lang="en-CA"/>
          </a:p>
          <a:p>
            <a:endParaRPr lang="en-CA"/>
          </a:p>
        </p:txBody>
      </p:sp>
      <p:sp>
        <p:nvSpPr>
          <p:cNvPr id="7" name="Rectangle 6">
            <a:extLst>
              <a:ext uri="{FF2B5EF4-FFF2-40B4-BE49-F238E27FC236}">
                <a16:creationId xmlns:a16="http://schemas.microsoft.com/office/drawing/2014/main" id="{9C7C4D65-4D16-7494-C191-87433FC72891}"/>
              </a:ext>
            </a:extLst>
          </p:cNvPr>
          <p:cNvSpPr/>
          <p:nvPr/>
        </p:nvSpPr>
        <p:spPr>
          <a:xfrm>
            <a:off x="6561667" y="6417733"/>
            <a:ext cx="1964266" cy="251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Tree>
    <p:extLst>
      <p:ext uri="{BB962C8B-B14F-4D97-AF65-F5344CB8AC3E}">
        <p14:creationId xmlns:p14="http://schemas.microsoft.com/office/powerpoint/2010/main" val="31291226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38D31-D34E-6494-C862-9228050E3EA9}"/>
              </a:ext>
            </a:extLst>
          </p:cNvPr>
          <p:cNvSpPr>
            <a:spLocks noGrp="1"/>
          </p:cNvSpPr>
          <p:nvPr>
            <p:ph type="title"/>
          </p:nvPr>
        </p:nvSpPr>
        <p:spPr/>
        <p:txBody>
          <a:bodyPr/>
          <a:lstStyle/>
          <a:p>
            <a:r>
              <a:rPr lang="en-CA"/>
              <a:t>Appendix II</a:t>
            </a:r>
          </a:p>
        </p:txBody>
      </p:sp>
      <p:sp>
        <p:nvSpPr>
          <p:cNvPr id="3" name="Text Placeholder 2">
            <a:extLst>
              <a:ext uri="{FF2B5EF4-FFF2-40B4-BE49-F238E27FC236}">
                <a16:creationId xmlns:a16="http://schemas.microsoft.com/office/drawing/2014/main" id="{39B7B067-F5AD-BE67-B806-AB2FACF883C2}"/>
              </a:ext>
            </a:extLst>
          </p:cNvPr>
          <p:cNvSpPr>
            <a:spLocks noGrp="1"/>
          </p:cNvSpPr>
          <p:nvPr>
            <p:ph type="body" sz="quarter" idx="18"/>
          </p:nvPr>
        </p:nvSpPr>
        <p:spPr/>
        <p:txBody>
          <a:bodyPr/>
          <a:lstStyle/>
          <a:p>
            <a:r>
              <a:rPr lang="en-CA"/>
              <a:t>Team Profiles</a:t>
            </a:r>
          </a:p>
        </p:txBody>
      </p:sp>
      <p:sp>
        <p:nvSpPr>
          <p:cNvPr id="6" name="Text Placeholder 5">
            <a:extLst>
              <a:ext uri="{FF2B5EF4-FFF2-40B4-BE49-F238E27FC236}">
                <a16:creationId xmlns:a16="http://schemas.microsoft.com/office/drawing/2014/main" id="{F454301B-E4AF-2B58-94F3-3FD85DBCC6EE}"/>
              </a:ext>
            </a:extLst>
          </p:cNvPr>
          <p:cNvSpPr>
            <a:spLocks noGrp="1"/>
          </p:cNvSpPr>
          <p:nvPr>
            <p:ph type="body" sz="quarter" idx="19"/>
          </p:nvPr>
        </p:nvSpPr>
        <p:spPr/>
        <p:txBody>
          <a:bodyPr/>
          <a:lstStyle/>
          <a:p>
            <a:endParaRPr lang="en-CA"/>
          </a:p>
        </p:txBody>
      </p:sp>
    </p:spTree>
    <p:extLst>
      <p:ext uri="{BB962C8B-B14F-4D97-AF65-F5344CB8AC3E}">
        <p14:creationId xmlns:p14="http://schemas.microsoft.com/office/powerpoint/2010/main" val="6148137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157F23-B963-AA25-F72E-6254DAA4105D}"/>
              </a:ext>
            </a:extLst>
          </p:cNvPr>
          <p:cNvSpPr>
            <a:spLocks noGrp="1"/>
          </p:cNvSpPr>
          <p:nvPr>
            <p:ph type="title"/>
          </p:nvPr>
        </p:nvSpPr>
        <p:spPr/>
        <p:txBody>
          <a:bodyPr/>
          <a:lstStyle/>
          <a:p>
            <a:r>
              <a:rPr lang="en-US"/>
              <a:t>TMTH Coverage Group</a:t>
            </a:r>
            <a:endParaRPr lang="en-CA"/>
          </a:p>
        </p:txBody>
      </p:sp>
      <p:sp>
        <p:nvSpPr>
          <p:cNvPr id="4" name="Text Placeholder 3">
            <a:extLst>
              <a:ext uri="{FF2B5EF4-FFF2-40B4-BE49-F238E27FC236}">
                <a16:creationId xmlns:a16="http://schemas.microsoft.com/office/drawing/2014/main" id="{33941F2F-83E1-8084-298B-D43ADCBD1EB3}"/>
              </a:ext>
            </a:extLst>
          </p:cNvPr>
          <p:cNvSpPr>
            <a:spLocks noGrp="1"/>
          </p:cNvSpPr>
          <p:nvPr>
            <p:ph type="body" sz="quarter" idx="13"/>
          </p:nvPr>
        </p:nvSpPr>
        <p:spPr/>
        <p:txBody>
          <a:bodyPr/>
          <a:lstStyle/>
          <a:p>
            <a:endParaRPr lang="en-CA"/>
          </a:p>
        </p:txBody>
      </p:sp>
      <p:sp>
        <p:nvSpPr>
          <p:cNvPr id="5" name="Text Placeholder 4">
            <a:extLst>
              <a:ext uri="{FF2B5EF4-FFF2-40B4-BE49-F238E27FC236}">
                <a16:creationId xmlns:a16="http://schemas.microsoft.com/office/drawing/2014/main" id="{F6EEA432-3117-93BE-5164-1B9BF027271A}"/>
              </a:ext>
            </a:extLst>
          </p:cNvPr>
          <p:cNvSpPr>
            <a:spLocks noGrp="1"/>
          </p:cNvSpPr>
          <p:nvPr>
            <p:ph type="body" sz="quarter" idx="21"/>
          </p:nvPr>
        </p:nvSpPr>
        <p:spPr>
          <a:xfrm>
            <a:off x="250825" y="583332"/>
            <a:ext cx="8642350" cy="422275"/>
          </a:xfrm>
        </p:spPr>
        <p:txBody>
          <a:bodyPr vert="horz" lIns="91440" tIns="45720" rIns="91440" bIns="45720" rtlCol="0" anchor="t">
            <a:normAutofit/>
          </a:bodyPr>
          <a:lstStyle/>
          <a:p>
            <a:r>
              <a:rPr lang="en-US"/>
              <a:t>Team Overview</a:t>
            </a:r>
            <a:endParaRPr lang="en-CA"/>
          </a:p>
        </p:txBody>
      </p:sp>
      <p:graphicFrame>
        <p:nvGraphicFramePr>
          <p:cNvPr id="14" name="Table 14">
            <a:extLst>
              <a:ext uri="{FF2B5EF4-FFF2-40B4-BE49-F238E27FC236}">
                <a16:creationId xmlns:a16="http://schemas.microsoft.com/office/drawing/2014/main" id="{76A4AAB4-9254-CC00-93B4-16E1C7879EAD}"/>
              </a:ext>
            </a:extLst>
          </p:cNvPr>
          <p:cNvGraphicFramePr>
            <a:graphicFrameLocks noGrp="1"/>
          </p:cNvGraphicFramePr>
          <p:nvPr>
            <p:extLst>
              <p:ext uri="{D42A27DB-BD31-4B8C-83A1-F6EECF244321}">
                <p14:modId xmlns:p14="http://schemas.microsoft.com/office/powerpoint/2010/main" val="2278914920"/>
              </p:ext>
            </p:extLst>
          </p:nvPr>
        </p:nvGraphicFramePr>
        <p:xfrm>
          <a:off x="250826" y="1016000"/>
          <a:ext cx="8642352" cy="822959"/>
        </p:xfrm>
        <a:graphic>
          <a:graphicData uri="http://schemas.openxmlformats.org/drawingml/2006/table">
            <a:tbl>
              <a:tblPr firstRow="1" bandRow="1">
                <a:tableStyleId>{5C22544A-7EE6-4342-B048-85BDC9FD1C3A}</a:tableStyleId>
              </a:tblPr>
              <a:tblGrid>
                <a:gridCol w="2088659">
                  <a:extLst>
                    <a:ext uri="{9D8B030D-6E8A-4147-A177-3AD203B41FA5}">
                      <a16:colId xmlns:a16="http://schemas.microsoft.com/office/drawing/2014/main" val="352309384"/>
                    </a:ext>
                  </a:extLst>
                </a:gridCol>
                <a:gridCol w="3676238">
                  <a:extLst>
                    <a:ext uri="{9D8B030D-6E8A-4147-A177-3AD203B41FA5}">
                      <a16:colId xmlns:a16="http://schemas.microsoft.com/office/drawing/2014/main" val="514140137"/>
                    </a:ext>
                  </a:extLst>
                </a:gridCol>
                <a:gridCol w="2877455">
                  <a:extLst>
                    <a:ext uri="{9D8B030D-6E8A-4147-A177-3AD203B41FA5}">
                      <a16:colId xmlns:a16="http://schemas.microsoft.com/office/drawing/2014/main" val="596772046"/>
                    </a:ext>
                  </a:extLst>
                </a:gridCol>
              </a:tblGrid>
              <a:tr h="251459">
                <a:tc>
                  <a:txBody>
                    <a:bodyPr/>
                    <a:lstStyle/>
                    <a:p>
                      <a:r>
                        <a:rPr lang="en-US" sz="1050" b="1">
                          <a:solidFill>
                            <a:schemeClr val="accent1"/>
                          </a:solidFill>
                        </a:rPr>
                        <a:t>Liam Morden</a:t>
                      </a:r>
                      <a:endParaRPr lang="en-CA" sz="1050" b="1">
                        <a:solidFill>
                          <a:schemeClr val="accent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accent1"/>
                          </a:solidFill>
                        </a:rPr>
                        <a:t>Education</a:t>
                      </a:r>
                      <a:endParaRPr lang="en-CA" sz="1050" b="1">
                        <a:solidFill>
                          <a:schemeClr val="accent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solidFill>
                            <a:schemeClr val="accent1"/>
                          </a:solidFill>
                        </a:rPr>
                        <a:t>Key Experiences</a:t>
                      </a:r>
                      <a:endParaRPr lang="en-CA" sz="1050">
                        <a:solidFill>
                          <a:schemeClr val="accent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8655344"/>
                  </a:ext>
                </a:extLst>
              </a:tr>
              <a:tr h="571499">
                <a:tc>
                  <a:txBody>
                    <a:bodyPr/>
                    <a:lstStyle/>
                    <a:p>
                      <a:r>
                        <a:rPr lang="en-US" sz="1050" i="1">
                          <a:solidFill>
                            <a:schemeClr val="tx1"/>
                          </a:solidFill>
                        </a:rPr>
                        <a:t>TMTH Portfolio Manager</a:t>
                      </a: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buClr>
                          <a:schemeClr val="accent1"/>
                        </a:buClr>
                        <a:buFont typeface="Wingdings" panose="05000000000000000000" pitchFamily="2" charset="2"/>
                        <a:buChar char="§"/>
                      </a:pPr>
                      <a:r>
                        <a:rPr lang="en-US" sz="1050">
                          <a:solidFill>
                            <a:schemeClr val="tx1"/>
                          </a:solidFill>
                        </a:rPr>
                        <a:t>Telfer School of Management</a:t>
                      </a:r>
                    </a:p>
                    <a:p>
                      <a:pPr marL="171450" indent="-171450">
                        <a:buClr>
                          <a:schemeClr val="accent1"/>
                        </a:buClr>
                        <a:buFont typeface="Wingdings" panose="05000000000000000000" pitchFamily="2" charset="2"/>
                        <a:buChar char="§"/>
                      </a:pPr>
                      <a:r>
                        <a:rPr lang="en-US" sz="1050">
                          <a:solidFill>
                            <a:schemeClr val="tx1"/>
                          </a:solidFill>
                        </a:rPr>
                        <a:t>2</a:t>
                      </a:r>
                      <a:r>
                        <a:rPr lang="en-US" sz="1050" baseline="30000">
                          <a:solidFill>
                            <a:schemeClr val="tx1"/>
                          </a:solidFill>
                        </a:rPr>
                        <a:t>nd</a:t>
                      </a:r>
                      <a:r>
                        <a:rPr lang="en-US" sz="1050">
                          <a:solidFill>
                            <a:schemeClr val="tx1"/>
                          </a:solidFill>
                        </a:rPr>
                        <a:t> Year Finance</a:t>
                      </a:r>
                      <a:endParaRPr lang="en-CA" sz="1050">
                        <a:solidFill>
                          <a:schemeClr val="tx1"/>
                        </a:solidFill>
                      </a:endParaRP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buClr>
                          <a:schemeClr val="accent1"/>
                        </a:buClr>
                        <a:buFont typeface="Wingdings" panose="05000000000000000000" pitchFamily="2" charset="2"/>
                        <a:buChar char="§"/>
                      </a:pPr>
                      <a:r>
                        <a:rPr lang="en-US" sz="1050">
                          <a:solidFill>
                            <a:schemeClr val="tx1"/>
                          </a:solidFill>
                        </a:rPr>
                        <a:t>Investment Analyst at </a:t>
                      </a:r>
                      <a:r>
                        <a:rPr lang="en-US" sz="1050" err="1">
                          <a:solidFill>
                            <a:schemeClr val="tx1"/>
                          </a:solidFill>
                        </a:rPr>
                        <a:t>Investa</a:t>
                      </a:r>
                      <a:r>
                        <a:rPr lang="en-US" sz="1050">
                          <a:solidFill>
                            <a:schemeClr val="tx1"/>
                          </a:solidFill>
                        </a:rPr>
                        <a:t> Insights</a:t>
                      </a:r>
                    </a:p>
                    <a:p>
                      <a:pPr marL="171450" indent="-171450">
                        <a:buClr>
                          <a:schemeClr val="accent1"/>
                        </a:buClr>
                        <a:buFont typeface="Wingdings" panose="05000000000000000000" pitchFamily="2" charset="2"/>
                        <a:buChar char="§"/>
                      </a:pPr>
                      <a:r>
                        <a:rPr lang="en-US" sz="1050">
                          <a:solidFill>
                            <a:schemeClr val="tx1"/>
                          </a:solidFill>
                        </a:rPr>
                        <a:t>Senior Auditor at AETSA</a:t>
                      </a:r>
                      <a:endParaRPr lang="en-CA" sz="1050">
                        <a:solidFill>
                          <a:schemeClr val="tx1"/>
                        </a:solidFill>
                      </a:endParaRP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5313595"/>
                  </a:ext>
                </a:extLst>
              </a:tr>
            </a:tbl>
          </a:graphicData>
        </a:graphic>
      </p:graphicFrame>
      <p:graphicFrame>
        <p:nvGraphicFramePr>
          <p:cNvPr id="28" name="Table 14">
            <a:extLst>
              <a:ext uri="{FF2B5EF4-FFF2-40B4-BE49-F238E27FC236}">
                <a16:creationId xmlns:a16="http://schemas.microsoft.com/office/drawing/2014/main" id="{12D60DE0-F191-BA4C-B982-0B01A910E199}"/>
              </a:ext>
            </a:extLst>
          </p:cNvPr>
          <p:cNvGraphicFramePr>
            <a:graphicFrameLocks noGrp="1"/>
          </p:cNvGraphicFramePr>
          <p:nvPr>
            <p:extLst>
              <p:ext uri="{D42A27DB-BD31-4B8C-83A1-F6EECF244321}">
                <p14:modId xmlns:p14="http://schemas.microsoft.com/office/powerpoint/2010/main" val="3383892105"/>
              </p:ext>
            </p:extLst>
          </p:nvPr>
        </p:nvGraphicFramePr>
        <p:xfrm>
          <a:off x="250826" y="2308584"/>
          <a:ext cx="8642352" cy="662940"/>
        </p:xfrm>
        <a:graphic>
          <a:graphicData uri="http://schemas.openxmlformats.org/drawingml/2006/table">
            <a:tbl>
              <a:tblPr firstRow="1" bandRow="1">
                <a:tableStyleId>{5C22544A-7EE6-4342-B048-85BDC9FD1C3A}</a:tableStyleId>
              </a:tblPr>
              <a:tblGrid>
                <a:gridCol w="2093699">
                  <a:extLst>
                    <a:ext uri="{9D8B030D-6E8A-4147-A177-3AD203B41FA5}">
                      <a16:colId xmlns:a16="http://schemas.microsoft.com/office/drawing/2014/main" val="352309384"/>
                    </a:ext>
                  </a:extLst>
                </a:gridCol>
                <a:gridCol w="3664254">
                  <a:extLst>
                    <a:ext uri="{9D8B030D-6E8A-4147-A177-3AD203B41FA5}">
                      <a16:colId xmlns:a16="http://schemas.microsoft.com/office/drawing/2014/main" val="514140137"/>
                    </a:ext>
                  </a:extLst>
                </a:gridCol>
                <a:gridCol w="2884399">
                  <a:extLst>
                    <a:ext uri="{9D8B030D-6E8A-4147-A177-3AD203B41FA5}">
                      <a16:colId xmlns:a16="http://schemas.microsoft.com/office/drawing/2014/main" val="596772046"/>
                    </a:ext>
                  </a:extLst>
                </a:gridCol>
              </a:tblGrid>
              <a:tr h="0">
                <a:tc>
                  <a:txBody>
                    <a:bodyPr/>
                    <a:lstStyle/>
                    <a:p>
                      <a:pPr lvl="0">
                        <a:buNone/>
                      </a:pPr>
                      <a:r>
                        <a:rPr lang="en-US" sz="1050" b="1">
                          <a:solidFill>
                            <a:schemeClr val="accent1"/>
                          </a:solidFill>
                        </a:rPr>
                        <a:t>Corey Cao</a:t>
                      </a:r>
                      <a:endParaRPr lang="en-US"/>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accent1"/>
                          </a:solidFill>
                        </a:rPr>
                        <a:t>Education</a:t>
                      </a:r>
                      <a:endParaRPr lang="en-CA" sz="1050" b="1">
                        <a:solidFill>
                          <a:schemeClr val="accent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solidFill>
                            <a:schemeClr val="accent1"/>
                          </a:solidFill>
                        </a:rPr>
                        <a:t>Key Experiences</a:t>
                      </a:r>
                      <a:endParaRPr lang="en-CA" sz="1050">
                        <a:solidFill>
                          <a:schemeClr val="accent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8655344"/>
                  </a:ext>
                </a:extLst>
              </a:tr>
              <a:tr h="0">
                <a:tc>
                  <a:txBody>
                    <a:bodyPr/>
                    <a:lstStyle/>
                    <a:p>
                      <a:r>
                        <a:rPr lang="en-US" sz="1050" i="1">
                          <a:solidFill>
                            <a:schemeClr val="tx1"/>
                          </a:solidFill>
                        </a:rPr>
                        <a:t>TMTH Analyst</a:t>
                      </a:r>
                      <a:endParaRPr lang="en-CA" sz="1050" i="1">
                        <a:solidFill>
                          <a:schemeClr val="tx1"/>
                        </a:solidFill>
                      </a:endParaRP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buClr>
                          <a:schemeClr val="accent1"/>
                        </a:buClr>
                        <a:buFont typeface="Wingdings" panose="05000000000000000000" pitchFamily="2" charset="2"/>
                        <a:buChar char="§"/>
                      </a:pPr>
                      <a:r>
                        <a:rPr lang="en-CA" sz="1050">
                          <a:solidFill>
                            <a:schemeClr val="tx1"/>
                          </a:solidFill>
                        </a:rPr>
                        <a:t>Telfer School of Management</a:t>
                      </a:r>
                    </a:p>
                    <a:p>
                      <a:pPr marL="171450" indent="-171450">
                        <a:buClr>
                          <a:schemeClr val="accent1"/>
                        </a:buClr>
                        <a:buFont typeface="Wingdings" panose="05000000000000000000" pitchFamily="2" charset="2"/>
                        <a:buChar char="§"/>
                      </a:pPr>
                      <a:r>
                        <a:rPr lang="en-CA" sz="1050">
                          <a:solidFill>
                            <a:schemeClr val="tx1"/>
                          </a:solidFill>
                        </a:rPr>
                        <a:t>4</a:t>
                      </a:r>
                      <a:r>
                        <a:rPr lang="en-CA" sz="1050" baseline="30000">
                          <a:solidFill>
                            <a:schemeClr val="tx1"/>
                          </a:solidFill>
                        </a:rPr>
                        <a:t>th</a:t>
                      </a:r>
                      <a:r>
                        <a:rPr lang="en-CA" sz="1050">
                          <a:solidFill>
                            <a:schemeClr val="tx1"/>
                          </a:solidFill>
                        </a:rPr>
                        <a:t> Year Finance</a:t>
                      </a: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buClr>
                          <a:schemeClr val="accent1"/>
                        </a:buClr>
                        <a:buFont typeface="Wingdings" panose="05000000000000000000" pitchFamily="2" charset="2"/>
                        <a:buChar char="§"/>
                      </a:pPr>
                      <a:r>
                        <a:rPr lang="en-CA" sz="1050">
                          <a:solidFill>
                            <a:schemeClr val="tx1"/>
                          </a:solidFill>
                        </a:rPr>
                        <a:t>Investment Representative at TD</a:t>
                      </a: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5313595"/>
                  </a:ext>
                </a:extLst>
              </a:tr>
            </a:tbl>
          </a:graphicData>
        </a:graphic>
      </p:graphicFrame>
      <p:graphicFrame>
        <p:nvGraphicFramePr>
          <p:cNvPr id="29" name="Table 14">
            <a:extLst>
              <a:ext uri="{FF2B5EF4-FFF2-40B4-BE49-F238E27FC236}">
                <a16:creationId xmlns:a16="http://schemas.microsoft.com/office/drawing/2014/main" id="{BE26A4F8-346C-386A-BB32-BC75C819D99B}"/>
              </a:ext>
            </a:extLst>
          </p:cNvPr>
          <p:cNvGraphicFramePr>
            <a:graphicFrameLocks noGrp="1"/>
          </p:cNvGraphicFramePr>
          <p:nvPr>
            <p:extLst>
              <p:ext uri="{D42A27DB-BD31-4B8C-83A1-F6EECF244321}">
                <p14:modId xmlns:p14="http://schemas.microsoft.com/office/powerpoint/2010/main" val="2790995951"/>
              </p:ext>
            </p:extLst>
          </p:nvPr>
        </p:nvGraphicFramePr>
        <p:xfrm>
          <a:off x="250825" y="3764369"/>
          <a:ext cx="8642351" cy="822960"/>
        </p:xfrm>
        <a:graphic>
          <a:graphicData uri="http://schemas.openxmlformats.org/drawingml/2006/table">
            <a:tbl>
              <a:tblPr firstRow="1" bandRow="1">
                <a:tableStyleId>{5C22544A-7EE6-4342-B048-85BDC9FD1C3A}</a:tableStyleId>
              </a:tblPr>
              <a:tblGrid>
                <a:gridCol w="2091492">
                  <a:extLst>
                    <a:ext uri="{9D8B030D-6E8A-4147-A177-3AD203B41FA5}">
                      <a16:colId xmlns:a16="http://schemas.microsoft.com/office/drawing/2014/main" val="352309384"/>
                    </a:ext>
                  </a:extLst>
                </a:gridCol>
                <a:gridCol w="3670076">
                  <a:extLst>
                    <a:ext uri="{9D8B030D-6E8A-4147-A177-3AD203B41FA5}">
                      <a16:colId xmlns:a16="http://schemas.microsoft.com/office/drawing/2014/main" val="514140137"/>
                    </a:ext>
                  </a:extLst>
                </a:gridCol>
                <a:gridCol w="2880783">
                  <a:extLst>
                    <a:ext uri="{9D8B030D-6E8A-4147-A177-3AD203B41FA5}">
                      <a16:colId xmlns:a16="http://schemas.microsoft.com/office/drawing/2014/main" val="596772046"/>
                    </a:ext>
                  </a:extLst>
                </a:gridCol>
              </a:tblGrid>
              <a:tr h="0">
                <a:tc>
                  <a:txBody>
                    <a:bodyPr/>
                    <a:lstStyle/>
                    <a:p>
                      <a:pPr lvl="0">
                        <a:buNone/>
                      </a:pPr>
                      <a:r>
                        <a:rPr lang="en-US" sz="1050" b="1" i="0" u="none" strike="noStrike" baseline="0" noProof="0">
                          <a:solidFill>
                            <a:srgbClr val="0F3557"/>
                          </a:solidFill>
                          <a:latin typeface="Arial"/>
                        </a:rPr>
                        <a:t>Sofia </a:t>
                      </a:r>
                      <a:r>
                        <a:rPr lang="en-US" sz="1050" b="1" i="0" u="none" strike="noStrike" baseline="0" noProof="0" err="1">
                          <a:solidFill>
                            <a:srgbClr val="0F3557"/>
                          </a:solidFill>
                          <a:latin typeface="Arial"/>
                        </a:rPr>
                        <a:t>Paravan</a:t>
                      </a: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accent1"/>
                          </a:solidFill>
                        </a:rPr>
                        <a:t>Education</a:t>
                      </a:r>
                      <a:endParaRPr lang="en-CA" sz="1050" b="1">
                        <a:solidFill>
                          <a:schemeClr val="accent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solidFill>
                            <a:schemeClr val="accent1"/>
                          </a:solidFill>
                        </a:rPr>
                        <a:t>Key Experiences</a:t>
                      </a:r>
                      <a:endParaRPr lang="en-CA" sz="1050">
                        <a:solidFill>
                          <a:schemeClr val="accent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8655344"/>
                  </a:ext>
                </a:extLst>
              </a:tr>
              <a:tr h="0">
                <a:tc>
                  <a:txBody>
                    <a:bodyPr/>
                    <a:lstStyle/>
                    <a:p>
                      <a:r>
                        <a:rPr lang="en-US" sz="1050" i="1">
                          <a:solidFill>
                            <a:schemeClr val="tx1"/>
                          </a:solidFill>
                        </a:rPr>
                        <a:t>TMTH Analyst</a:t>
                      </a:r>
                      <a:endParaRPr lang="en-CA" sz="1050" i="1">
                        <a:solidFill>
                          <a:schemeClr val="tx1"/>
                        </a:solidFill>
                      </a:endParaRP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CA" sz="1050">
                          <a:solidFill>
                            <a:schemeClr val="tx1"/>
                          </a:solidFill>
                        </a:rPr>
                        <a:t>Telfer School of Management</a:t>
                      </a:r>
                    </a:p>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CA" sz="1050">
                          <a:solidFill>
                            <a:schemeClr val="tx1"/>
                          </a:solidFill>
                        </a:rPr>
                        <a:t>1</a:t>
                      </a:r>
                      <a:r>
                        <a:rPr lang="en-CA" sz="1050" baseline="30000">
                          <a:solidFill>
                            <a:schemeClr val="tx1"/>
                          </a:solidFill>
                        </a:rPr>
                        <a:t>st</a:t>
                      </a:r>
                      <a:r>
                        <a:rPr lang="en-CA" sz="1050">
                          <a:solidFill>
                            <a:schemeClr val="tx1"/>
                          </a:solidFill>
                        </a:rPr>
                        <a:t> Year Finance</a:t>
                      </a:r>
                    </a:p>
                    <a:p>
                      <a:pPr marL="171450" indent="-171450">
                        <a:buClr>
                          <a:schemeClr val="accent1"/>
                        </a:buClr>
                        <a:buFont typeface="Wingdings" panose="05000000000000000000" pitchFamily="2" charset="2"/>
                        <a:buChar char="§"/>
                      </a:pPr>
                      <a:endParaRPr lang="en-US" sz="1050">
                        <a:solidFill>
                          <a:schemeClr val="tx1"/>
                        </a:solidFill>
                      </a:endParaRP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buClr>
                          <a:schemeClr val="accent1"/>
                        </a:buClr>
                        <a:buFont typeface="Wingdings" panose="05000000000000000000" pitchFamily="2" charset="2"/>
                        <a:buChar char="§"/>
                      </a:pPr>
                      <a:r>
                        <a:rPr lang="en-CA" sz="1050">
                          <a:solidFill>
                            <a:schemeClr val="tx1"/>
                          </a:solidFill>
                        </a:rPr>
                        <a:t>TMTH Analyst at TFSIG</a:t>
                      </a: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5313595"/>
                  </a:ext>
                </a:extLst>
              </a:tr>
            </a:tbl>
          </a:graphicData>
        </a:graphic>
      </p:graphicFrame>
      <p:graphicFrame>
        <p:nvGraphicFramePr>
          <p:cNvPr id="30" name="Table 14">
            <a:extLst>
              <a:ext uri="{FF2B5EF4-FFF2-40B4-BE49-F238E27FC236}">
                <a16:creationId xmlns:a16="http://schemas.microsoft.com/office/drawing/2014/main" id="{B193158D-0499-7DE8-C232-7084B7490925}"/>
              </a:ext>
            </a:extLst>
          </p:cNvPr>
          <p:cNvGraphicFramePr>
            <a:graphicFrameLocks noGrp="1"/>
          </p:cNvGraphicFramePr>
          <p:nvPr>
            <p:extLst>
              <p:ext uri="{D42A27DB-BD31-4B8C-83A1-F6EECF244321}">
                <p14:modId xmlns:p14="http://schemas.microsoft.com/office/powerpoint/2010/main" val="3201561616"/>
              </p:ext>
            </p:extLst>
          </p:nvPr>
        </p:nvGraphicFramePr>
        <p:xfrm>
          <a:off x="250823" y="5060134"/>
          <a:ext cx="8642352" cy="822960"/>
        </p:xfrm>
        <a:graphic>
          <a:graphicData uri="http://schemas.openxmlformats.org/drawingml/2006/table">
            <a:tbl>
              <a:tblPr firstRow="1" bandRow="1">
                <a:tableStyleId>{5C22544A-7EE6-4342-B048-85BDC9FD1C3A}</a:tableStyleId>
              </a:tblPr>
              <a:tblGrid>
                <a:gridCol w="2091492">
                  <a:extLst>
                    <a:ext uri="{9D8B030D-6E8A-4147-A177-3AD203B41FA5}">
                      <a16:colId xmlns:a16="http://schemas.microsoft.com/office/drawing/2014/main" val="352309384"/>
                    </a:ext>
                  </a:extLst>
                </a:gridCol>
                <a:gridCol w="3670076">
                  <a:extLst>
                    <a:ext uri="{9D8B030D-6E8A-4147-A177-3AD203B41FA5}">
                      <a16:colId xmlns:a16="http://schemas.microsoft.com/office/drawing/2014/main" val="514140137"/>
                    </a:ext>
                  </a:extLst>
                </a:gridCol>
                <a:gridCol w="2880784">
                  <a:extLst>
                    <a:ext uri="{9D8B030D-6E8A-4147-A177-3AD203B41FA5}">
                      <a16:colId xmlns:a16="http://schemas.microsoft.com/office/drawing/2014/main" val="596772046"/>
                    </a:ext>
                  </a:extLst>
                </a:gridCol>
              </a:tblGrid>
              <a:tr h="0">
                <a:tc>
                  <a:txBody>
                    <a:bodyPr/>
                    <a:lstStyle/>
                    <a:p>
                      <a:pPr lvl="0">
                        <a:buNone/>
                      </a:pPr>
                      <a:r>
                        <a:rPr lang="en-US" sz="1050" b="1" i="0" u="none" strike="noStrike" baseline="0" noProof="0">
                          <a:solidFill>
                            <a:srgbClr val="0F3557"/>
                          </a:solidFill>
                          <a:latin typeface="Arial"/>
                        </a:rPr>
                        <a:t>Oliver Tudor Price</a:t>
                      </a:r>
                      <a:endParaRPr lang="en-US"/>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b="1">
                          <a:solidFill>
                            <a:schemeClr val="accent1"/>
                          </a:solidFill>
                        </a:rPr>
                        <a:t>Education</a:t>
                      </a:r>
                      <a:endParaRPr lang="en-CA" sz="1050" b="1">
                        <a:solidFill>
                          <a:schemeClr val="accent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solidFill>
                            <a:schemeClr val="accent1"/>
                          </a:solidFill>
                        </a:rPr>
                        <a:t>Key Experiences</a:t>
                      </a:r>
                      <a:endParaRPr lang="en-CA" sz="1050">
                        <a:solidFill>
                          <a:schemeClr val="accent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8655344"/>
                  </a:ext>
                </a:extLst>
              </a:tr>
              <a:tr h="0">
                <a:tc>
                  <a:txBody>
                    <a:bodyPr/>
                    <a:lstStyle/>
                    <a:p>
                      <a:r>
                        <a:rPr lang="en-US" sz="1050" i="1">
                          <a:solidFill>
                            <a:schemeClr val="tx1"/>
                          </a:solidFill>
                        </a:rPr>
                        <a:t>TMTH Analyst</a:t>
                      </a:r>
                      <a:endParaRPr lang="en-CA" sz="1050" i="1">
                        <a:solidFill>
                          <a:schemeClr val="tx1"/>
                        </a:solidFill>
                      </a:endParaRP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CA" sz="1050">
                          <a:solidFill>
                            <a:schemeClr val="tx1"/>
                          </a:solidFill>
                        </a:rPr>
                        <a:t>Telfer School of Management</a:t>
                      </a:r>
                    </a:p>
                    <a:p>
                      <a:pPr marL="171450" marR="0" lvl="0" indent="-171450" algn="l" rtl="0" eaLnBrk="1" fontAlgn="auto" latinLnBrk="0" hangingPunct="1">
                        <a:lnSpc>
                          <a:spcPct val="100000"/>
                        </a:lnSpc>
                        <a:spcBef>
                          <a:spcPts val="0"/>
                        </a:spcBef>
                        <a:spcAft>
                          <a:spcPts val="0"/>
                        </a:spcAft>
                        <a:buClr>
                          <a:schemeClr val="accent1"/>
                        </a:buClr>
                        <a:buSzTx/>
                        <a:buFont typeface="Wingdings" panose="05000000000000000000" pitchFamily="2" charset="2"/>
                        <a:buChar char="§"/>
                      </a:pPr>
                      <a:r>
                        <a:rPr lang="en-CA" sz="1050">
                          <a:solidFill>
                            <a:schemeClr val="tx1"/>
                          </a:solidFill>
                        </a:rPr>
                        <a:t>1</a:t>
                      </a:r>
                      <a:r>
                        <a:rPr lang="en-CA" sz="1050" baseline="30000">
                          <a:solidFill>
                            <a:schemeClr val="tx1"/>
                          </a:solidFill>
                        </a:rPr>
                        <a:t>st</a:t>
                      </a:r>
                      <a:r>
                        <a:rPr lang="en-CA" sz="1050">
                          <a:solidFill>
                            <a:schemeClr val="tx1"/>
                          </a:solidFill>
                        </a:rPr>
                        <a:t> Year International Management </a:t>
                      </a:r>
                    </a:p>
                    <a:p>
                      <a:pPr marL="171450" indent="-171450">
                        <a:buClr>
                          <a:schemeClr val="accent1"/>
                        </a:buClr>
                        <a:buFont typeface="Wingdings" panose="05000000000000000000" pitchFamily="2" charset="2"/>
                        <a:buChar char="§"/>
                      </a:pPr>
                      <a:endParaRPr lang="en-CA" sz="1050">
                        <a:solidFill>
                          <a:schemeClr val="tx1"/>
                        </a:solidFill>
                      </a:endParaRP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CA" sz="1050">
                          <a:solidFill>
                            <a:schemeClr val="tx1"/>
                          </a:solidFill>
                        </a:rPr>
                        <a:t>TMTH Analyst at TFSIG</a:t>
                      </a:r>
                    </a:p>
                    <a:p>
                      <a:pPr marL="171450" indent="-171450">
                        <a:buClr>
                          <a:schemeClr val="accent1"/>
                        </a:buClr>
                        <a:buFont typeface="Wingdings" panose="05000000000000000000" pitchFamily="2" charset="2"/>
                        <a:buChar char="§"/>
                      </a:pPr>
                      <a:endParaRPr lang="en-CA" sz="1050">
                        <a:solidFill>
                          <a:schemeClr val="tx1"/>
                        </a:solidFill>
                      </a:endParaRPr>
                    </a:p>
                  </a:txBody>
                  <a:tcP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5313595"/>
                  </a:ext>
                </a:extLst>
              </a:tr>
            </a:tbl>
          </a:graphicData>
        </a:graphic>
      </p:graphicFrame>
    </p:spTree>
    <p:extLst>
      <p:ext uri="{BB962C8B-B14F-4D97-AF65-F5344CB8AC3E}">
        <p14:creationId xmlns:p14="http://schemas.microsoft.com/office/powerpoint/2010/main" val="40284458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EC7939-B189-9B52-2410-7069EA8886BC}"/>
              </a:ext>
            </a:extLst>
          </p:cNvPr>
          <p:cNvSpPr>
            <a:spLocks noGrp="1"/>
          </p:cNvSpPr>
          <p:nvPr>
            <p:ph type="body" sz="quarter" idx="21"/>
          </p:nvPr>
        </p:nvSpPr>
        <p:spPr/>
        <p:txBody>
          <a:bodyPr/>
          <a:lstStyle/>
          <a:p>
            <a:endParaRPr lang="en-CA"/>
          </a:p>
        </p:txBody>
      </p:sp>
      <p:sp>
        <p:nvSpPr>
          <p:cNvPr id="3" name="Text Placeholder 2">
            <a:extLst>
              <a:ext uri="{FF2B5EF4-FFF2-40B4-BE49-F238E27FC236}">
                <a16:creationId xmlns:a16="http://schemas.microsoft.com/office/drawing/2014/main" id="{7C627260-CD11-7E45-7DF4-7F6EE324676F}"/>
              </a:ext>
            </a:extLst>
          </p:cNvPr>
          <p:cNvSpPr>
            <a:spLocks noGrp="1"/>
          </p:cNvSpPr>
          <p:nvPr>
            <p:ph type="body" sz="quarter" idx="13"/>
          </p:nvPr>
        </p:nvSpPr>
        <p:spPr/>
        <p:txBody>
          <a:bodyPr/>
          <a:lstStyle/>
          <a:p>
            <a:endParaRPr lang="en-CA"/>
          </a:p>
        </p:txBody>
      </p:sp>
    </p:spTree>
    <p:extLst>
      <p:ext uri="{BB962C8B-B14F-4D97-AF65-F5344CB8AC3E}">
        <p14:creationId xmlns:p14="http://schemas.microsoft.com/office/powerpoint/2010/main" val="3423929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17FA99-37C3-F614-6EE6-399D1B24D1BC}"/>
              </a:ext>
            </a:extLst>
          </p:cNvPr>
          <p:cNvSpPr>
            <a:spLocks noGrp="1"/>
          </p:cNvSpPr>
          <p:nvPr>
            <p:ph type="title"/>
          </p:nvPr>
        </p:nvSpPr>
        <p:spPr/>
        <p:txBody>
          <a:bodyPr/>
          <a:lstStyle/>
          <a:p>
            <a:r>
              <a:rPr lang="en-US"/>
              <a:t>Table of Contents</a:t>
            </a:r>
            <a:endParaRPr lang="en-CA"/>
          </a:p>
        </p:txBody>
      </p:sp>
      <p:grpSp>
        <p:nvGrpSpPr>
          <p:cNvPr id="15" name="Group 14">
            <a:extLst>
              <a:ext uri="{FF2B5EF4-FFF2-40B4-BE49-F238E27FC236}">
                <a16:creationId xmlns:a16="http://schemas.microsoft.com/office/drawing/2014/main" id="{E1028985-8258-16E9-3593-6745C2ACF163}"/>
              </a:ext>
            </a:extLst>
          </p:cNvPr>
          <p:cNvGrpSpPr/>
          <p:nvPr/>
        </p:nvGrpSpPr>
        <p:grpSpPr>
          <a:xfrm>
            <a:off x="259310" y="846801"/>
            <a:ext cx="8642350" cy="338400"/>
            <a:chOff x="250825" y="677600"/>
            <a:chExt cx="8642350" cy="338400"/>
          </a:xfrm>
        </p:grpSpPr>
        <p:sp>
          <p:nvSpPr>
            <p:cNvPr id="9" name="Rectangle 8">
              <a:extLst>
                <a:ext uri="{FF2B5EF4-FFF2-40B4-BE49-F238E27FC236}">
                  <a16:creationId xmlns:a16="http://schemas.microsoft.com/office/drawing/2014/main" id="{B42E97A6-9A8D-97FD-0C68-9043461E2B64}"/>
                </a:ext>
              </a:extLst>
            </p:cNvPr>
            <p:cNvSpPr/>
            <p:nvPr/>
          </p:nvSpPr>
          <p:spPr>
            <a:xfrm>
              <a:off x="250825" y="677600"/>
              <a:ext cx="339379" cy="338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A</a:t>
              </a:r>
            </a:p>
          </p:txBody>
        </p:sp>
        <p:sp>
          <p:nvSpPr>
            <p:cNvPr id="12" name="Rectangle 11">
              <a:extLst>
                <a:ext uri="{FF2B5EF4-FFF2-40B4-BE49-F238E27FC236}">
                  <a16:creationId xmlns:a16="http://schemas.microsoft.com/office/drawing/2014/main" id="{ED983260-F2B3-8B28-F871-E193190F75DC}"/>
                </a:ext>
              </a:extLst>
            </p:cNvPr>
            <p:cNvSpPr/>
            <p:nvPr/>
          </p:nvSpPr>
          <p:spPr>
            <a:xfrm>
              <a:off x="8553796" y="677600"/>
              <a:ext cx="339379"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4</a:t>
              </a:r>
            </a:p>
          </p:txBody>
        </p:sp>
        <p:sp>
          <p:nvSpPr>
            <p:cNvPr id="14" name="TextBox 13">
              <a:hlinkClick r:id="" action="ppaction://noaction"/>
              <a:extLst>
                <a:ext uri="{FF2B5EF4-FFF2-40B4-BE49-F238E27FC236}">
                  <a16:creationId xmlns:a16="http://schemas.microsoft.com/office/drawing/2014/main" id="{520EF869-0942-67BC-D096-B50E2B930F47}"/>
                </a:ext>
              </a:extLst>
            </p:cNvPr>
            <p:cNvSpPr txBox="1"/>
            <p:nvPr/>
          </p:nvSpPr>
          <p:spPr>
            <a:xfrm>
              <a:off x="590204" y="708300"/>
              <a:ext cx="7963592" cy="276999"/>
            </a:xfrm>
            <a:prstGeom prst="rect">
              <a:avLst/>
            </a:prstGeom>
            <a:noFill/>
          </p:spPr>
          <p:txBody>
            <a:bodyPr wrap="square" lIns="91440" tIns="45720" rIns="91440" bIns="45720" rtlCol="0" anchor="t">
              <a:spAutoFit/>
            </a:bodyPr>
            <a:lstStyle/>
            <a:p>
              <a:r>
                <a:rPr lang="en-US" sz="1200" b="1">
                  <a:solidFill>
                    <a:schemeClr val="tx2"/>
                  </a:solidFill>
                </a:rPr>
                <a:t>Company Overview</a:t>
              </a:r>
              <a:endParaRPr lang="en-CA" sz="1200" b="1">
                <a:solidFill>
                  <a:schemeClr val="tx2"/>
                </a:solidFill>
              </a:endParaRPr>
            </a:p>
          </p:txBody>
        </p:sp>
      </p:grpSp>
      <p:grpSp>
        <p:nvGrpSpPr>
          <p:cNvPr id="16" name="Group 15">
            <a:extLst>
              <a:ext uri="{FF2B5EF4-FFF2-40B4-BE49-F238E27FC236}">
                <a16:creationId xmlns:a16="http://schemas.microsoft.com/office/drawing/2014/main" id="{4F3DE241-6D69-E559-4987-3056779BE584}"/>
              </a:ext>
            </a:extLst>
          </p:cNvPr>
          <p:cNvGrpSpPr/>
          <p:nvPr/>
        </p:nvGrpSpPr>
        <p:grpSpPr>
          <a:xfrm>
            <a:off x="259314" y="1879681"/>
            <a:ext cx="8659319" cy="338400"/>
            <a:chOff x="250825" y="677600"/>
            <a:chExt cx="8659319" cy="338400"/>
          </a:xfrm>
        </p:grpSpPr>
        <p:sp>
          <p:nvSpPr>
            <p:cNvPr id="17" name="Rectangle 16">
              <a:extLst>
                <a:ext uri="{FF2B5EF4-FFF2-40B4-BE49-F238E27FC236}">
                  <a16:creationId xmlns:a16="http://schemas.microsoft.com/office/drawing/2014/main" id="{DE6CCB68-589F-F081-F7D9-4F64FA995E72}"/>
                </a:ext>
              </a:extLst>
            </p:cNvPr>
            <p:cNvSpPr/>
            <p:nvPr/>
          </p:nvSpPr>
          <p:spPr>
            <a:xfrm>
              <a:off x="250825" y="677600"/>
              <a:ext cx="339379" cy="338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C</a:t>
              </a:r>
            </a:p>
          </p:txBody>
        </p:sp>
        <p:sp>
          <p:nvSpPr>
            <p:cNvPr id="18" name="Rectangle 17">
              <a:extLst>
                <a:ext uri="{FF2B5EF4-FFF2-40B4-BE49-F238E27FC236}">
                  <a16:creationId xmlns:a16="http://schemas.microsoft.com/office/drawing/2014/main" id="{38519A42-E838-937A-FFA0-52A2B89B6BAF}"/>
                </a:ext>
              </a:extLst>
            </p:cNvPr>
            <p:cNvSpPr/>
            <p:nvPr/>
          </p:nvSpPr>
          <p:spPr>
            <a:xfrm>
              <a:off x="8536827" y="677600"/>
              <a:ext cx="373317"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11</a:t>
              </a:r>
            </a:p>
          </p:txBody>
        </p:sp>
        <p:sp>
          <p:nvSpPr>
            <p:cNvPr id="19" name="TextBox 18">
              <a:hlinkClick r:id="" action="ppaction://noaction"/>
              <a:extLst>
                <a:ext uri="{FF2B5EF4-FFF2-40B4-BE49-F238E27FC236}">
                  <a16:creationId xmlns:a16="http://schemas.microsoft.com/office/drawing/2014/main" id="{44252831-5319-CFC3-0E7E-7E846F41168A}"/>
                </a:ext>
              </a:extLst>
            </p:cNvPr>
            <p:cNvSpPr txBox="1">
              <a:spLocks/>
            </p:cNvSpPr>
            <p:nvPr/>
          </p:nvSpPr>
          <p:spPr>
            <a:xfrm>
              <a:off x="590204" y="708300"/>
              <a:ext cx="7963592" cy="276999"/>
            </a:xfrm>
            <a:prstGeom prst="rect">
              <a:avLst/>
            </a:prstGeom>
            <a:noFill/>
          </p:spPr>
          <p:txBody>
            <a:bodyPr wrap="square" lIns="91440" tIns="45720" rIns="91440" bIns="45720" rtlCol="0" anchor="t">
              <a:spAutoFit/>
            </a:bodyPr>
            <a:lstStyle/>
            <a:p>
              <a:r>
                <a:rPr lang="en-US" sz="1200" b="1">
                  <a:solidFill>
                    <a:schemeClr val="tx2"/>
                  </a:solidFill>
                </a:rPr>
                <a:t>Risks &amp; Catalysts</a:t>
              </a:r>
              <a:endParaRPr lang="en-CA" sz="1200" b="1">
                <a:solidFill>
                  <a:schemeClr val="tx2"/>
                </a:solidFill>
              </a:endParaRPr>
            </a:p>
          </p:txBody>
        </p:sp>
      </p:grpSp>
      <p:grpSp>
        <p:nvGrpSpPr>
          <p:cNvPr id="22" name="Group 21">
            <a:extLst>
              <a:ext uri="{FF2B5EF4-FFF2-40B4-BE49-F238E27FC236}">
                <a16:creationId xmlns:a16="http://schemas.microsoft.com/office/drawing/2014/main" id="{F51FF9E5-5025-CCF3-8438-8D51E48E13B5}"/>
              </a:ext>
            </a:extLst>
          </p:cNvPr>
          <p:cNvGrpSpPr>
            <a:grpSpLocks/>
          </p:cNvGrpSpPr>
          <p:nvPr/>
        </p:nvGrpSpPr>
        <p:grpSpPr>
          <a:xfrm>
            <a:off x="257968" y="2396121"/>
            <a:ext cx="8659319" cy="338400"/>
            <a:chOff x="250825" y="677600"/>
            <a:chExt cx="8659319" cy="338400"/>
          </a:xfrm>
        </p:grpSpPr>
        <p:sp>
          <p:nvSpPr>
            <p:cNvPr id="23" name="Rectangle 22">
              <a:extLst>
                <a:ext uri="{FF2B5EF4-FFF2-40B4-BE49-F238E27FC236}">
                  <a16:creationId xmlns:a16="http://schemas.microsoft.com/office/drawing/2014/main" id="{0307E93E-B156-D180-6BDC-4E89D5F45AF3}"/>
                </a:ext>
              </a:extLst>
            </p:cNvPr>
            <p:cNvSpPr>
              <a:spLocks/>
            </p:cNvSpPr>
            <p:nvPr/>
          </p:nvSpPr>
          <p:spPr>
            <a:xfrm>
              <a:off x="250825" y="677600"/>
              <a:ext cx="339379" cy="338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D</a:t>
              </a:r>
            </a:p>
          </p:txBody>
        </p:sp>
        <p:sp>
          <p:nvSpPr>
            <p:cNvPr id="24" name="Rectangle 23">
              <a:extLst>
                <a:ext uri="{FF2B5EF4-FFF2-40B4-BE49-F238E27FC236}">
                  <a16:creationId xmlns:a16="http://schemas.microsoft.com/office/drawing/2014/main" id="{969F84BC-68F3-2272-DE1D-E26E0044FE81}"/>
                </a:ext>
              </a:extLst>
            </p:cNvPr>
            <p:cNvSpPr>
              <a:spLocks/>
            </p:cNvSpPr>
            <p:nvPr/>
          </p:nvSpPr>
          <p:spPr>
            <a:xfrm>
              <a:off x="8536827" y="677600"/>
              <a:ext cx="373317"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14</a:t>
              </a:r>
            </a:p>
          </p:txBody>
        </p:sp>
        <p:sp>
          <p:nvSpPr>
            <p:cNvPr id="25" name="TextBox 24">
              <a:hlinkClick r:id="" action="ppaction://noaction"/>
              <a:extLst>
                <a:ext uri="{FF2B5EF4-FFF2-40B4-BE49-F238E27FC236}">
                  <a16:creationId xmlns:a16="http://schemas.microsoft.com/office/drawing/2014/main" id="{706A80FD-A34A-6AC8-1D3E-0BE02FCF3367}"/>
                </a:ext>
              </a:extLst>
            </p:cNvPr>
            <p:cNvSpPr txBox="1">
              <a:spLocks/>
            </p:cNvSpPr>
            <p:nvPr/>
          </p:nvSpPr>
          <p:spPr>
            <a:xfrm>
              <a:off x="590204" y="708300"/>
              <a:ext cx="7963592" cy="276999"/>
            </a:xfrm>
            <a:prstGeom prst="rect">
              <a:avLst/>
            </a:prstGeom>
            <a:noFill/>
          </p:spPr>
          <p:txBody>
            <a:bodyPr wrap="square" lIns="91440" tIns="45720" rIns="91440" bIns="45720" rtlCol="0" anchor="t">
              <a:spAutoFit/>
            </a:bodyPr>
            <a:lstStyle/>
            <a:p>
              <a:r>
                <a:rPr lang="en-US" sz="1200" b="1">
                  <a:solidFill>
                    <a:schemeClr val="tx2"/>
                  </a:solidFill>
                </a:rPr>
                <a:t>Investment Theses</a:t>
              </a:r>
              <a:endParaRPr lang="en-CA" sz="1200" b="1">
                <a:solidFill>
                  <a:schemeClr val="tx2"/>
                </a:solidFill>
                <a:cs typeface="Arial" panose="020B0604020202020204"/>
              </a:endParaRPr>
            </a:p>
          </p:txBody>
        </p:sp>
      </p:grpSp>
      <p:grpSp>
        <p:nvGrpSpPr>
          <p:cNvPr id="26" name="Group 25">
            <a:extLst>
              <a:ext uri="{FF2B5EF4-FFF2-40B4-BE49-F238E27FC236}">
                <a16:creationId xmlns:a16="http://schemas.microsoft.com/office/drawing/2014/main" id="{0A0B6E5F-1A20-8DFA-1456-15D8B0514FFD}"/>
              </a:ext>
            </a:extLst>
          </p:cNvPr>
          <p:cNvGrpSpPr>
            <a:grpSpLocks/>
          </p:cNvGrpSpPr>
          <p:nvPr/>
        </p:nvGrpSpPr>
        <p:grpSpPr>
          <a:xfrm>
            <a:off x="259314" y="2912561"/>
            <a:ext cx="8659319" cy="338400"/>
            <a:chOff x="250825" y="677600"/>
            <a:chExt cx="8659319" cy="338400"/>
          </a:xfrm>
        </p:grpSpPr>
        <p:sp>
          <p:nvSpPr>
            <p:cNvPr id="27" name="Rectangle 26">
              <a:extLst>
                <a:ext uri="{FF2B5EF4-FFF2-40B4-BE49-F238E27FC236}">
                  <a16:creationId xmlns:a16="http://schemas.microsoft.com/office/drawing/2014/main" id="{6ADC063F-8F60-A129-A4D1-5E1728DBB45A}"/>
                </a:ext>
              </a:extLst>
            </p:cNvPr>
            <p:cNvSpPr>
              <a:spLocks/>
            </p:cNvSpPr>
            <p:nvPr/>
          </p:nvSpPr>
          <p:spPr>
            <a:xfrm>
              <a:off x="250825" y="677600"/>
              <a:ext cx="339379" cy="338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E</a:t>
              </a:r>
            </a:p>
          </p:txBody>
        </p:sp>
        <p:sp>
          <p:nvSpPr>
            <p:cNvPr id="28" name="Rectangle 27">
              <a:extLst>
                <a:ext uri="{FF2B5EF4-FFF2-40B4-BE49-F238E27FC236}">
                  <a16:creationId xmlns:a16="http://schemas.microsoft.com/office/drawing/2014/main" id="{7C8A4413-71D2-6C6B-ADC1-7873059A11A3}"/>
                </a:ext>
              </a:extLst>
            </p:cNvPr>
            <p:cNvSpPr>
              <a:spLocks/>
            </p:cNvSpPr>
            <p:nvPr/>
          </p:nvSpPr>
          <p:spPr>
            <a:xfrm>
              <a:off x="8536827" y="677600"/>
              <a:ext cx="373317"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17</a:t>
              </a:r>
            </a:p>
          </p:txBody>
        </p:sp>
        <p:sp>
          <p:nvSpPr>
            <p:cNvPr id="29" name="TextBox 28">
              <a:hlinkClick r:id="" action="ppaction://noaction"/>
              <a:extLst>
                <a:ext uri="{FF2B5EF4-FFF2-40B4-BE49-F238E27FC236}">
                  <a16:creationId xmlns:a16="http://schemas.microsoft.com/office/drawing/2014/main" id="{FECB13C6-A29E-4031-6B34-842E1995AF66}"/>
                </a:ext>
              </a:extLst>
            </p:cNvPr>
            <p:cNvSpPr txBox="1">
              <a:spLocks/>
            </p:cNvSpPr>
            <p:nvPr/>
          </p:nvSpPr>
          <p:spPr>
            <a:xfrm>
              <a:off x="590204" y="708300"/>
              <a:ext cx="7963592" cy="276999"/>
            </a:xfrm>
            <a:prstGeom prst="rect">
              <a:avLst/>
            </a:prstGeom>
            <a:noFill/>
          </p:spPr>
          <p:txBody>
            <a:bodyPr wrap="square" lIns="91440" tIns="45720" rIns="91440" bIns="45720" rtlCol="0" anchor="t">
              <a:spAutoFit/>
            </a:bodyPr>
            <a:lstStyle/>
            <a:p>
              <a:r>
                <a:rPr lang="en-US" sz="1200" b="1">
                  <a:solidFill>
                    <a:schemeClr val="tx2"/>
                  </a:solidFill>
                </a:rPr>
                <a:t>Valuation</a:t>
              </a:r>
              <a:endParaRPr lang="en-CA" sz="1200" b="1">
                <a:solidFill>
                  <a:schemeClr val="tx2"/>
                </a:solidFill>
                <a:cs typeface="Arial" panose="020B0604020202020204"/>
              </a:endParaRPr>
            </a:p>
          </p:txBody>
        </p:sp>
      </p:grpSp>
      <p:grpSp>
        <p:nvGrpSpPr>
          <p:cNvPr id="34" name="Group 33">
            <a:extLst>
              <a:ext uri="{FF2B5EF4-FFF2-40B4-BE49-F238E27FC236}">
                <a16:creationId xmlns:a16="http://schemas.microsoft.com/office/drawing/2014/main" id="{E6A00118-8944-416B-14AA-AC81EEDEFF0E}"/>
              </a:ext>
            </a:extLst>
          </p:cNvPr>
          <p:cNvGrpSpPr/>
          <p:nvPr/>
        </p:nvGrpSpPr>
        <p:grpSpPr>
          <a:xfrm>
            <a:off x="259310" y="1363241"/>
            <a:ext cx="8642350" cy="338400"/>
            <a:chOff x="250825" y="677600"/>
            <a:chExt cx="8642350" cy="338400"/>
          </a:xfrm>
        </p:grpSpPr>
        <p:sp>
          <p:nvSpPr>
            <p:cNvPr id="35" name="Rectangle 34">
              <a:extLst>
                <a:ext uri="{FF2B5EF4-FFF2-40B4-BE49-F238E27FC236}">
                  <a16:creationId xmlns:a16="http://schemas.microsoft.com/office/drawing/2014/main" id="{4D368FBB-81A4-7E2F-D76D-793CC4A8B325}"/>
                </a:ext>
              </a:extLst>
            </p:cNvPr>
            <p:cNvSpPr/>
            <p:nvPr/>
          </p:nvSpPr>
          <p:spPr>
            <a:xfrm>
              <a:off x="250825" y="677600"/>
              <a:ext cx="339379" cy="338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B</a:t>
              </a:r>
            </a:p>
          </p:txBody>
        </p:sp>
        <p:sp>
          <p:nvSpPr>
            <p:cNvPr id="36" name="Rectangle 35">
              <a:extLst>
                <a:ext uri="{FF2B5EF4-FFF2-40B4-BE49-F238E27FC236}">
                  <a16:creationId xmlns:a16="http://schemas.microsoft.com/office/drawing/2014/main" id="{441E6959-0748-6A02-6BC7-13A963858AB1}"/>
                </a:ext>
              </a:extLst>
            </p:cNvPr>
            <p:cNvSpPr/>
            <p:nvPr/>
          </p:nvSpPr>
          <p:spPr>
            <a:xfrm>
              <a:off x="8553796" y="677600"/>
              <a:ext cx="339379"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7</a:t>
              </a:r>
            </a:p>
          </p:txBody>
        </p:sp>
        <p:sp>
          <p:nvSpPr>
            <p:cNvPr id="37" name="TextBox 36">
              <a:hlinkClick r:id="" action="ppaction://noaction"/>
              <a:extLst>
                <a:ext uri="{FF2B5EF4-FFF2-40B4-BE49-F238E27FC236}">
                  <a16:creationId xmlns:a16="http://schemas.microsoft.com/office/drawing/2014/main" id="{F3C67577-418B-A7DD-30D9-C9E5377D8D9D}"/>
                </a:ext>
              </a:extLst>
            </p:cNvPr>
            <p:cNvSpPr txBox="1">
              <a:spLocks/>
            </p:cNvSpPr>
            <p:nvPr/>
          </p:nvSpPr>
          <p:spPr>
            <a:xfrm>
              <a:off x="590204" y="708300"/>
              <a:ext cx="7963592" cy="276999"/>
            </a:xfrm>
            <a:prstGeom prst="rect">
              <a:avLst/>
            </a:prstGeom>
            <a:noFill/>
          </p:spPr>
          <p:txBody>
            <a:bodyPr wrap="square" lIns="91440" tIns="45720" rIns="91440" bIns="45720" rtlCol="0" anchor="t">
              <a:spAutoFit/>
            </a:bodyPr>
            <a:lstStyle/>
            <a:p>
              <a:r>
                <a:rPr lang="en-US" sz="1200" b="1">
                  <a:solidFill>
                    <a:schemeClr val="tx2"/>
                  </a:solidFill>
                </a:rPr>
                <a:t>Industry Overview</a:t>
              </a:r>
              <a:endParaRPr lang="en-CA" sz="1200" b="1">
                <a:solidFill>
                  <a:schemeClr val="tx2"/>
                </a:solidFill>
              </a:endParaRPr>
            </a:p>
          </p:txBody>
        </p:sp>
      </p:grpSp>
      <p:grpSp>
        <p:nvGrpSpPr>
          <p:cNvPr id="2" name="Group 1">
            <a:extLst>
              <a:ext uri="{FF2B5EF4-FFF2-40B4-BE49-F238E27FC236}">
                <a16:creationId xmlns:a16="http://schemas.microsoft.com/office/drawing/2014/main" id="{9694442D-A2D0-BEED-4FD8-787FDDC19A3D}"/>
              </a:ext>
            </a:extLst>
          </p:cNvPr>
          <p:cNvGrpSpPr/>
          <p:nvPr/>
        </p:nvGrpSpPr>
        <p:grpSpPr>
          <a:xfrm>
            <a:off x="257968" y="3429000"/>
            <a:ext cx="8659319" cy="338400"/>
            <a:chOff x="250825" y="677600"/>
            <a:chExt cx="8659319" cy="338400"/>
          </a:xfrm>
        </p:grpSpPr>
        <p:sp>
          <p:nvSpPr>
            <p:cNvPr id="3" name="Rectangle 2">
              <a:extLst>
                <a:ext uri="{FF2B5EF4-FFF2-40B4-BE49-F238E27FC236}">
                  <a16:creationId xmlns:a16="http://schemas.microsoft.com/office/drawing/2014/main" id="{A011829D-49B4-A5A1-1DD2-AA6E53699CC7}"/>
                </a:ext>
              </a:extLst>
            </p:cNvPr>
            <p:cNvSpPr/>
            <p:nvPr/>
          </p:nvSpPr>
          <p:spPr>
            <a:xfrm>
              <a:off x="250825" y="677600"/>
              <a:ext cx="339379" cy="338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F</a:t>
              </a:r>
            </a:p>
          </p:txBody>
        </p:sp>
        <p:sp>
          <p:nvSpPr>
            <p:cNvPr id="6" name="Rectangle 5">
              <a:extLst>
                <a:ext uri="{FF2B5EF4-FFF2-40B4-BE49-F238E27FC236}">
                  <a16:creationId xmlns:a16="http://schemas.microsoft.com/office/drawing/2014/main" id="{64A5CAB6-B341-18CE-145D-C363D1EF5334}"/>
                </a:ext>
              </a:extLst>
            </p:cNvPr>
            <p:cNvSpPr/>
            <p:nvPr/>
          </p:nvSpPr>
          <p:spPr>
            <a:xfrm>
              <a:off x="8536827" y="677600"/>
              <a:ext cx="373317"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21</a:t>
              </a:r>
            </a:p>
          </p:txBody>
        </p:sp>
        <p:sp>
          <p:nvSpPr>
            <p:cNvPr id="7" name="TextBox 6">
              <a:hlinkClick r:id="" action="ppaction://noaction"/>
              <a:extLst>
                <a:ext uri="{FF2B5EF4-FFF2-40B4-BE49-F238E27FC236}">
                  <a16:creationId xmlns:a16="http://schemas.microsoft.com/office/drawing/2014/main" id="{AA2D9D26-7EC2-4C32-5A38-5626CCD5F662}"/>
                </a:ext>
              </a:extLst>
            </p:cNvPr>
            <p:cNvSpPr txBox="1">
              <a:spLocks/>
            </p:cNvSpPr>
            <p:nvPr/>
          </p:nvSpPr>
          <p:spPr>
            <a:xfrm>
              <a:off x="590204" y="708300"/>
              <a:ext cx="7963592" cy="276999"/>
            </a:xfrm>
            <a:prstGeom prst="rect">
              <a:avLst/>
            </a:prstGeom>
            <a:noFill/>
          </p:spPr>
          <p:txBody>
            <a:bodyPr wrap="square" lIns="91440" tIns="45720" rIns="91440" bIns="45720" rtlCol="0" anchor="t">
              <a:spAutoFit/>
            </a:bodyPr>
            <a:lstStyle/>
            <a:p>
              <a:r>
                <a:rPr lang="en-US" sz="1200" b="1">
                  <a:solidFill>
                    <a:schemeClr val="tx2"/>
                  </a:solidFill>
                </a:rPr>
                <a:t>Appendix I</a:t>
              </a:r>
              <a:endParaRPr lang="en-CA" sz="1200" b="1">
                <a:solidFill>
                  <a:schemeClr val="tx2"/>
                </a:solidFill>
              </a:endParaRPr>
            </a:p>
          </p:txBody>
        </p:sp>
      </p:grpSp>
      <p:sp>
        <p:nvSpPr>
          <p:cNvPr id="10" name="Rectangle 9">
            <a:extLst>
              <a:ext uri="{FF2B5EF4-FFF2-40B4-BE49-F238E27FC236}">
                <a16:creationId xmlns:a16="http://schemas.microsoft.com/office/drawing/2014/main" id="{923EC487-C07C-664F-2079-66019884D266}"/>
              </a:ext>
            </a:extLst>
          </p:cNvPr>
          <p:cNvSpPr>
            <a:spLocks noGrp="1" noRot="1" noMove="1" noResize="1" noEditPoints="1" noAdjustHandles="1" noChangeArrowheads="1" noChangeShapeType="1"/>
          </p:cNvSpPr>
          <p:nvPr/>
        </p:nvSpPr>
        <p:spPr>
          <a:xfrm>
            <a:off x="6538686" y="6458281"/>
            <a:ext cx="1930400" cy="2108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grpSp>
        <p:nvGrpSpPr>
          <p:cNvPr id="11" name="Group 10">
            <a:extLst>
              <a:ext uri="{FF2B5EF4-FFF2-40B4-BE49-F238E27FC236}">
                <a16:creationId xmlns:a16="http://schemas.microsoft.com/office/drawing/2014/main" id="{F0B9CB4A-1E44-FB1D-9BD2-9F5C42E210D0}"/>
              </a:ext>
            </a:extLst>
          </p:cNvPr>
          <p:cNvGrpSpPr/>
          <p:nvPr/>
        </p:nvGrpSpPr>
        <p:grpSpPr>
          <a:xfrm>
            <a:off x="257968" y="3945438"/>
            <a:ext cx="8659319" cy="338400"/>
            <a:chOff x="250825" y="677600"/>
            <a:chExt cx="8659319" cy="338400"/>
          </a:xfrm>
        </p:grpSpPr>
        <p:sp>
          <p:nvSpPr>
            <p:cNvPr id="13" name="Rectangle 12">
              <a:extLst>
                <a:ext uri="{FF2B5EF4-FFF2-40B4-BE49-F238E27FC236}">
                  <a16:creationId xmlns:a16="http://schemas.microsoft.com/office/drawing/2014/main" id="{90DD3E65-BF10-E00F-7465-AEB6D25A2675}"/>
                </a:ext>
              </a:extLst>
            </p:cNvPr>
            <p:cNvSpPr/>
            <p:nvPr/>
          </p:nvSpPr>
          <p:spPr>
            <a:xfrm>
              <a:off x="250825" y="677600"/>
              <a:ext cx="339379" cy="338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G</a:t>
              </a:r>
            </a:p>
          </p:txBody>
        </p:sp>
        <p:sp>
          <p:nvSpPr>
            <p:cNvPr id="20" name="Rectangle 19">
              <a:extLst>
                <a:ext uri="{FF2B5EF4-FFF2-40B4-BE49-F238E27FC236}">
                  <a16:creationId xmlns:a16="http://schemas.microsoft.com/office/drawing/2014/main" id="{DC2722AE-890C-7B2E-FE8D-20299FE35143}"/>
                </a:ext>
              </a:extLst>
            </p:cNvPr>
            <p:cNvSpPr/>
            <p:nvPr/>
          </p:nvSpPr>
          <p:spPr>
            <a:xfrm>
              <a:off x="8536827" y="677600"/>
              <a:ext cx="373317"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26</a:t>
              </a:r>
            </a:p>
          </p:txBody>
        </p:sp>
        <p:sp>
          <p:nvSpPr>
            <p:cNvPr id="21" name="TextBox 20">
              <a:hlinkClick r:id="" action="ppaction://noaction"/>
              <a:extLst>
                <a:ext uri="{FF2B5EF4-FFF2-40B4-BE49-F238E27FC236}">
                  <a16:creationId xmlns:a16="http://schemas.microsoft.com/office/drawing/2014/main" id="{F3E9978B-A94E-8202-DC07-AB68F5FB06D3}"/>
                </a:ext>
              </a:extLst>
            </p:cNvPr>
            <p:cNvSpPr txBox="1">
              <a:spLocks/>
            </p:cNvSpPr>
            <p:nvPr/>
          </p:nvSpPr>
          <p:spPr>
            <a:xfrm>
              <a:off x="590204" y="708300"/>
              <a:ext cx="7963592" cy="276999"/>
            </a:xfrm>
            <a:prstGeom prst="rect">
              <a:avLst/>
            </a:prstGeom>
            <a:noFill/>
          </p:spPr>
          <p:txBody>
            <a:bodyPr wrap="square" rtlCol="0">
              <a:spAutoFit/>
            </a:bodyPr>
            <a:lstStyle/>
            <a:p>
              <a:r>
                <a:rPr lang="en-US" sz="1200" b="1">
                  <a:solidFill>
                    <a:schemeClr val="tx2"/>
                  </a:solidFill>
                </a:rPr>
                <a:t>Appendix II</a:t>
              </a:r>
              <a:endParaRPr lang="en-CA" sz="1200" b="1">
                <a:solidFill>
                  <a:schemeClr val="tx2"/>
                </a:solidFill>
              </a:endParaRPr>
            </a:p>
          </p:txBody>
        </p:sp>
      </p:grpSp>
    </p:spTree>
    <p:extLst>
      <p:ext uri="{BB962C8B-B14F-4D97-AF65-F5344CB8AC3E}">
        <p14:creationId xmlns:p14="http://schemas.microsoft.com/office/powerpoint/2010/main" val="6023155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45529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D78D44-FEF3-50B8-7E42-BBCE41DD9115}"/>
              </a:ext>
            </a:extLst>
          </p:cNvPr>
          <p:cNvSpPr>
            <a:spLocks noGrp="1"/>
          </p:cNvSpPr>
          <p:nvPr>
            <p:ph type="title"/>
          </p:nvPr>
        </p:nvSpPr>
        <p:spPr/>
        <p:txBody>
          <a:bodyPr/>
          <a:lstStyle/>
          <a:p>
            <a:r>
              <a:rPr lang="en-CA"/>
              <a:t>A. Company Overview</a:t>
            </a:r>
          </a:p>
        </p:txBody>
      </p:sp>
      <p:sp>
        <p:nvSpPr>
          <p:cNvPr id="3" name="Text Placeholder 2">
            <a:extLst>
              <a:ext uri="{FF2B5EF4-FFF2-40B4-BE49-F238E27FC236}">
                <a16:creationId xmlns:a16="http://schemas.microsoft.com/office/drawing/2014/main" id="{7F84E4DA-5B66-5F87-3004-4508E14375CC}"/>
              </a:ext>
            </a:extLst>
          </p:cNvPr>
          <p:cNvSpPr>
            <a:spLocks noGrp="1"/>
          </p:cNvSpPr>
          <p:nvPr>
            <p:ph type="body" sz="quarter" idx="18"/>
          </p:nvPr>
        </p:nvSpPr>
        <p:spPr/>
        <p:txBody>
          <a:bodyPr/>
          <a:lstStyle/>
          <a:p>
            <a:endParaRPr lang="en-CA"/>
          </a:p>
        </p:txBody>
      </p:sp>
      <p:sp>
        <p:nvSpPr>
          <p:cNvPr id="6" name="Text Placeholder 5">
            <a:extLst>
              <a:ext uri="{FF2B5EF4-FFF2-40B4-BE49-F238E27FC236}">
                <a16:creationId xmlns:a16="http://schemas.microsoft.com/office/drawing/2014/main" id="{A8AE6F07-3B6C-5106-8009-7E9BCA5D388C}"/>
              </a:ext>
            </a:extLst>
          </p:cNvPr>
          <p:cNvSpPr>
            <a:spLocks noGrp="1"/>
          </p:cNvSpPr>
          <p:nvPr>
            <p:ph type="body" sz="quarter" idx="19"/>
          </p:nvPr>
        </p:nvSpPr>
        <p:spPr/>
        <p:txBody>
          <a:bodyPr/>
          <a:lstStyle/>
          <a:p>
            <a:endParaRPr lang="en-CA"/>
          </a:p>
        </p:txBody>
      </p:sp>
    </p:spTree>
    <p:extLst>
      <p:ext uri="{BB962C8B-B14F-4D97-AF65-F5344CB8AC3E}">
        <p14:creationId xmlns:p14="http://schemas.microsoft.com/office/powerpoint/2010/main" val="2853754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E9744-E9D7-3F8D-A1A6-A555C376430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84DB997-A325-6400-9AE3-16770C868940}"/>
              </a:ext>
            </a:extLst>
          </p:cNvPr>
          <p:cNvSpPr>
            <a:spLocks noGrp="1"/>
          </p:cNvSpPr>
          <p:nvPr>
            <p:ph type="body" sz="quarter" idx="13"/>
          </p:nvPr>
        </p:nvSpPr>
        <p:spPr/>
        <p:txBody>
          <a:bodyPr/>
          <a:lstStyle/>
          <a:p>
            <a:r>
              <a:rPr lang="en-US"/>
              <a:t>Sources: </a:t>
            </a:r>
            <a:r>
              <a:rPr lang="en-US" err="1"/>
              <a:t>Addus</a:t>
            </a:r>
            <a:r>
              <a:rPr lang="en-US"/>
              <a:t> 10-K</a:t>
            </a:r>
          </a:p>
        </p:txBody>
      </p:sp>
      <p:sp>
        <p:nvSpPr>
          <p:cNvPr id="3" name="Text Placeholder 2">
            <a:extLst>
              <a:ext uri="{FF2B5EF4-FFF2-40B4-BE49-F238E27FC236}">
                <a16:creationId xmlns:a16="http://schemas.microsoft.com/office/drawing/2014/main" id="{F6BA8239-4AB3-F800-ED0B-B25F4C13E620}"/>
              </a:ext>
            </a:extLst>
          </p:cNvPr>
          <p:cNvSpPr>
            <a:spLocks noGrp="1"/>
          </p:cNvSpPr>
          <p:nvPr>
            <p:ph type="body" sz="quarter" idx="21"/>
          </p:nvPr>
        </p:nvSpPr>
        <p:spPr/>
        <p:txBody>
          <a:bodyPr/>
          <a:lstStyle/>
          <a:p>
            <a:r>
              <a:rPr lang="en-US" err="1"/>
              <a:t>Addus</a:t>
            </a:r>
            <a:r>
              <a:rPr lang="en-US"/>
              <a:t> Homecare: Delivering Essential Home and Community-Based Healthcare Services.</a:t>
            </a:r>
          </a:p>
        </p:txBody>
      </p:sp>
      <p:sp>
        <p:nvSpPr>
          <p:cNvPr id="4" name="Title 3">
            <a:extLst>
              <a:ext uri="{FF2B5EF4-FFF2-40B4-BE49-F238E27FC236}">
                <a16:creationId xmlns:a16="http://schemas.microsoft.com/office/drawing/2014/main" id="{9D55B747-21F4-276A-42C7-F7009E5D262E}"/>
              </a:ext>
            </a:extLst>
          </p:cNvPr>
          <p:cNvSpPr>
            <a:spLocks noGrp="1"/>
          </p:cNvSpPr>
          <p:nvPr>
            <p:ph type="title"/>
          </p:nvPr>
        </p:nvSpPr>
        <p:spPr/>
        <p:txBody>
          <a:bodyPr/>
          <a:lstStyle/>
          <a:p>
            <a:r>
              <a:rPr lang="en-US"/>
              <a:t>Company Highlights</a:t>
            </a:r>
          </a:p>
        </p:txBody>
      </p:sp>
      <p:sp>
        <p:nvSpPr>
          <p:cNvPr id="5" name="Text Placeholder 4">
            <a:extLst>
              <a:ext uri="{FF2B5EF4-FFF2-40B4-BE49-F238E27FC236}">
                <a16:creationId xmlns:a16="http://schemas.microsoft.com/office/drawing/2014/main" id="{609EAD13-3E0F-EF32-CFCA-1B796BBAF167}"/>
              </a:ext>
            </a:extLst>
          </p:cNvPr>
          <p:cNvSpPr>
            <a:spLocks noGrp="1"/>
          </p:cNvSpPr>
          <p:nvPr>
            <p:ph type="body" idx="22"/>
          </p:nvPr>
        </p:nvSpPr>
        <p:spPr/>
        <p:txBody>
          <a:bodyPr/>
          <a:lstStyle/>
          <a:p>
            <a:r>
              <a:rPr lang="en-US"/>
              <a:t>Revenue Growth </a:t>
            </a:r>
            <a:r>
              <a:rPr lang="en-US" i="1"/>
              <a:t>(in $USD </a:t>
            </a:r>
            <a:r>
              <a:rPr lang="en-US" i="1" err="1"/>
              <a:t>mn</a:t>
            </a:r>
            <a:r>
              <a:rPr lang="en-US" i="1"/>
              <a:t>)</a:t>
            </a:r>
          </a:p>
        </p:txBody>
      </p:sp>
      <p:sp>
        <p:nvSpPr>
          <p:cNvPr id="6" name="Content Placeholder 5">
            <a:extLst>
              <a:ext uri="{FF2B5EF4-FFF2-40B4-BE49-F238E27FC236}">
                <a16:creationId xmlns:a16="http://schemas.microsoft.com/office/drawing/2014/main" id="{043CFCED-5654-B475-46DC-2E637BA4F3EA}"/>
              </a:ext>
            </a:extLst>
          </p:cNvPr>
          <p:cNvSpPr>
            <a:spLocks noGrp="1"/>
          </p:cNvSpPr>
          <p:nvPr>
            <p:ph sz="quarter" idx="23"/>
          </p:nvPr>
        </p:nvSpPr>
        <p:spPr/>
        <p:txBody>
          <a:bodyPr vert="horz" lIns="91440" tIns="45720" rIns="91440" bIns="45720" rtlCol="0" anchor="t">
            <a:normAutofit/>
          </a:bodyPr>
          <a:lstStyle/>
          <a:p>
            <a:r>
              <a:rPr lang="en-US">
                <a:ea typeface="+mj-lt"/>
                <a:cs typeface="+mj-lt"/>
              </a:rPr>
              <a:t>Founded in 1979, Addus Homecare Corporation has become prominent provider of in-home care services across the United States, specializing in supporting elderly, disabled, and chronically ill individuals. They help prevent hospitalization or institutional care along with allowing independence. </a:t>
            </a:r>
          </a:p>
          <a:p>
            <a:r>
              <a:rPr lang="en-US">
                <a:ea typeface="+mj-lt"/>
                <a:cs typeface="+mj-lt"/>
              </a:rPr>
              <a:t>Addus generates revenue through their 3 main segments; Personal Care, Home Health Care, and Hospice Care. </a:t>
            </a:r>
            <a:endParaRPr lang="en-US"/>
          </a:p>
          <a:p>
            <a:r>
              <a:rPr lang="en-US">
                <a:ea typeface="+mj-lt"/>
                <a:cs typeface="+mj-lt"/>
              </a:rPr>
              <a:t>Addus serves approximately 40,000 patients weekly, supported by more than 33,000 employees. The overall mission of Addus Homecare emphasizes compassion and improving the quality of life for its clients.</a:t>
            </a:r>
          </a:p>
          <a:p>
            <a:r>
              <a:rPr lang="en-US">
                <a:ea typeface="+mj-lt"/>
                <a:cs typeface="+mj-lt"/>
              </a:rPr>
              <a:t>In 2023, the company reported an annual revenue of $1.06 billion, marking an 11.31% year-over-year increase.</a:t>
            </a:r>
            <a:endParaRPr lang="en-US"/>
          </a:p>
          <a:p>
            <a:pPr marL="0" indent="0">
              <a:buNone/>
            </a:pPr>
            <a:endParaRPr lang="en-US"/>
          </a:p>
        </p:txBody>
      </p:sp>
      <p:sp>
        <p:nvSpPr>
          <p:cNvPr id="7" name="Text Placeholder 6">
            <a:extLst>
              <a:ext uri="{FF2B5EF4-FFF2-40B4-BE49-F238E27FC236}">
                <a16:creationId xmlns:a16="http://schemas.microsoft.com/office/drawing/2014/main" id="{9F061F89-89A5-5A1E-64B0-251167856238}"/>
              </a:ext>
            </a:extLst>
          </p:cNvPr>
          <p:cNvSpPr>
            <a:spLocks noGrp="1"/>
          </p:cNvSpPr>
          <p:nvPr>
            <p:ph type="body" idx="26"/>
          </p:nvPr>
        </p:nvSpPr>
        <p:spPr/>
        <p:txBody>
          <a:bodyPr/>
          <a:lstStyle/>
          <a:p>
            <a:r>
              <a:rPr lang="en-US"/>
              <a:t>Overview</a:t>
            </a:r>
          </a:p>
        </p:txBody>
      </p:sp>
      <p:sp>
        <p:nvSpPr>
          <p:cNvPr id="8" name="Text Placeholder 7">
            <a:extLst>
              <a:ext uri="{FF2B5EF4-FFF2-40B4-BE49-F238E27FC236}">
                <a16:creationId xmlns:a16="http://schemas.microsoft.com/office/drawing/2014/main" id="{06F887EA-8CCB-5453-52E8-AF22ABBB8B98}"/>
              </a:ext>
            </a:extLst>
          </p:cNvPr>
          <p:cNvSpPr>
            <a:spLocks noGrp="1"/>
          </p:cNvSpPr>
          <p:nvPr>
            <p:ph type="body" idx="27"/>
          </p:nvPr>
        </p:nvSpPr>
        <p:spPr/>
        <p:txBody>
          <a:bodyPr/>
          <a:lstStyle/>
          <a:p>
            <a:r>
              <a:rPr lang="en-US"/>
              <a:t>Business Strategy</a:t>
            </a:r>
          </a:p>
        </p:txBody>
      </p:sp>
      <p:sp>
        <p:nvSpPr>
          <p:cNvPr id="10" name="Content Placeholder 9">
            <a:extLst>
              <a:ext uri="{FF2B5EF4-FFF2-40B4-BE49-F238E27FC236}">
                <a16:creationId xmlns:a16="http://schemas.microsoft.com/office/drawing/2014/main" id="{0F58E024-7634-078E-C694-BF84CCA6344F}"/>
              </a:ext>
            </a:extLst>
          </p:cNvPr>
          <p:cNvSpPr>
            <a:spLocks noGrp="1"/>
          </p:cNvSpPr>
          <p:nvPr>
            <p:ph sz="quarter" idx="29"/>
          </p:nvPr>
        </p:nvSpPr>
        <p:spPr/>
        <p:txBody>
          <a:bodyPr vert="horz" lIns="91440" tIns="45720" rIns="91440" bIns="45720" rtlCol="0" anchor="t">
            <a:noAutofit/>
          </a:bodyPr>
          <a:lstStyle/>
          <a:p>
            <a:r>
              <a:rPr lang="en-US">
                <a:ea typeface="+mj-lt"/>
                <a:cs typeface="+mj-lt"/>
              </a:rPr>
              <a:t>With more seniors choosing to age at home, </a:t>
            </a:r>
            <a:r>
              <a:rPr lang="en-US" err="1">
                <a:ea typeface="+mj-lt"/>
                <a:cs typeface="+mj-lt"/>
              </a:rPr>
              <a:t>Addus</a:t>
            </a:r>
            <a:r>
              <a:rPr lang="en-US">
                <a:ea typeface="+mj-lt"/>
                <a:cs typeface="+mj-lt"/>
              </a:rPr>
              <a:t> </a:t>
            </a:r>
            <a:r>
              <a:rPr lang="en-US" err="1">
                <a:ea typeface="+mj-lt"/>
                <a:cs typeface="+mj-lt"/>
              </a:rPr>
              <a:t>HomeCare</a:t>
            </a:r>
            <a:r>
              <a:rPr lang="en-US">
                <a:ea typeface="+mj-lt"/>
                <a:cs typeface="+mj-lt"/>
              </a:rPr>
              <a:t> enables independent living by providing essential in-home services.</a:t>
            </a:r>
          </a:p>
          <a:p>
            <a:r>
              <a:rPr lang="en-US" err="1">
                <a:ea typeface="+mj-lt"/>
                <a:cs typeface="+mj-lt"/>
              </a:rPr>
              <a:t>Addus</a:t>
            </a:r>
            <a:r>
              <a:rPr lang="en-US">
                <a:ea typeface="+mj-lt"/>
                <a:cs typeface="+mj-lt"/>
              </a:rPr>
              <a:t> Homecare attempts to make care more accessible and convenient by providing a mix of personal care, home health, and hospice services to help people stay in their homes instead of moving to nursing facilities. They have a focuses on giving patients the support they need to live comfortably and independently in their homes.</a:t>
            </a:r>
            <a:endParaRPr lang="en-US"/>
          </a:p>
          <a:p>
            <a:r>
              <a:rPr lang="en-US" err="1">
                <a:ea typeface="+mj-lt"/>
                <a:cs typeface="+mj-lt"/>
              </a:rPr>
              <a:t>Addus</a:t>
            </a:r>
            <a:r>
              <a:rPr lang="en-US">
                <a:ea typeface="+mj-lt"/>
                <a:cs typeface="+mj-lt"/>
              </a:rPr>
              <a:t> also is able to adapt to changes within healthcare by offering care that improves outcomes for their clients but also remaining affordable. This helps them work well with insurance providers and healthcare providers. </a:t>
            </a:r>
            <a:endParaRPr lang="en-US"/>
          </a:p>
        </p:txBody>
      </p:sp>
      <p:sp>
        <p:nvSpPr>
          <p:cNvPr id="12" name="Text Placeholder 11">
            <a:extLst>
              <a:ext uri="{FF2B5EF4-FFF2-40B4-BE49-F238E27FC236}">
                <a16:creationId xmlns:a16="http://schemas.microsoft.com/office/drawing/2014/main" id="{849197EC-E817-774F-C76A-A4C164AEBF6A}"/>
              </a:ext>
            </a:extLst>
          </p:cNvPr>
          <p:cNvSpPr>
            <a:spLocks noGrp="1"/>
          </p:cNvSpPr>
          <p:nvPr>
            <p:ph type="body" idx="31"/>
          </p:nvPr>
        </p:nvSpPr>
        <p:spPr/>
        <p:txBody>
          <a:bodyPr/>
          <a:lstStyle/>
          <a:p>
            <a:r>
              <a:rPr lang="en-US"/>
              <a:t>Operations by Region</a:t>
            </a:r>
          </a:p>
        </p:txBody>
      </p:sp>
      <p:graphicFrame>
        <p:nvGraphicFramePr>
          <p:cNvPr id="20" name="Content Placeholder 19">
            <a:extLst>
              <a:ext uri="{FF2B5EF4-FFF2-40B4-BE49-F238E27FC236}">
                <a16:creationId xmlns:a16="http://schemas.microsoft.com/office/drawing/2014/main" id="{08A0144E-9A8B-9401-1019-4F6F79DE1712}"/>
              </a:ext>
            </a:extLst>
          </p:cNvPr>
          <p:cNvGraphicFramePr>
            <a:graphicFrameLocks noGrp="1"/>
          </p:cNvGraphicFramePr>
          <p:nvPr>
            <p:ph sz="quarter" idx="28"/>
            <p:extLst>
              <p:ext uri="{D42A27DB-BD31-4B8C-83A1-F6EECF244321}">
                <p14:modId xmlns:p14="http://schemas.microsoft.com/office/powerpoint/2010/main" val="4169755529"/>
              </p:ext>
            </p:extLst>
          </p:nvPr>
        </p:nvGraphicFramePr>
        <p:xfrm>
          <a:off x="4751388" y="1384299"/>
          <a:ext cx="4141787" cy="2178051"/>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Straight Arrow Connector 10">
            <a:extLst>
              <a:ext uri="{FF2B5EF4-FFF2-40B4-BE49-F238E27FC236}">
                <a16:creationId xmlns:a16="http://schemas.microsoft.com/office/drawing/2014/main" id="{54DEEDC3-42FC-A163-CE08-692BA85059B4}"/>
              </a:ext>
            </a:extLst>
          </p:cNvPr>
          <p:cNvCxnSpPr>
            <a:cxnSpLocks/>
          </p:cNvCxnSpPr>
          <p:nvPr/>
        </p:nvCxnSpPr>
        <p:spPr>
          <a:xfrm flipV="1">
            <a:off x="5537923" y="1488430"/>
            <a:ext cx="2955025" cy="775875"/>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cx4="http://schemas.microsoft.com/office/drawing/2016/5/10/chartex" Requires="cx4">
          <p:graphicFrame>
            <p:nvGraphicFramePr>
              <p:cNvPr id="18" name="Content Placeholder 17">
                <a:extLst>
                  <a:ext uri="{FF2B5EF4-FFF2-40B4-BE49-F238E27FC236}">
                    <a16:creationId xmlns:a16="http://schemas.microsoft.com/office/drawing/2014/main" id="{C97980A5-5350-F8D6-772B-54235E48EE33}"/>
                  </a:ext>
                </a:extLst>
              </p:cNvPr>
              <p:cNvGraphicFramePr>
                <a:graphicFrameLocks noGrp="1"/>
              </p:cNvGraphicFramePr>
              <p:nvPr>
                <p:ph sz="quarter" idx="30"/>
                <p:extLst>
                  <p:ext uri="{D42A27DB-BD31-4B8C-83A1-F6EECF244321}">
                    <p14:modId xmlns:p14="http://schemas.microsoft.com/office/powerpoint/2010/main" val="4277646047"/>
                  </p:ext>
                </p:extLst>
              </p:nvPr>
            </p:nvGraphicFramePr>
            <p:xfrm>
              <a:off x="4751388" y="4014788"/>
              <a:ext cx="4141787" cy="2178050"/>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18" name="Content Placeholder 17">
                <a:extLst>
                  <a:ext uri="{FF2B5EF4-FFF2-40B4-BE49-F238E27FC236}">
                    <a16:creationId xmlns:a16="http://schemas.microsoft.com/office/drawing/2014/main" id="{C97980A5-5350-F8D6-772B-54235E48EE33}"/>
                  </a:ext>
                </a:extLst>
              </p:cNvPr>
              <p:cNvPicPr>
                <a:picLocks noGrp="1" noRot="1" noChangeAspect="1" noMove="1" noResize="1" noEditPoints="1" noAdjustHandles="1" noChangeArrowheads="1" noChangeShapeType="1"/>
              </p:cNvPicPr>
              <p:nvPr/>
            </p:nvPicPr>
            <p:blipFill>
              <a:blip r:embed="rId6"/>
              <a:stretch>
                <a:fillRect/>
              </a:stretch>
            </p:blipFill>
            <p:spPr>
              <a:xfrm>
                <a:off x="4751388" y="4014788"/>
                <a:ext cx="4141787" cy="2178050"/>
              </a:xfrm>
              <a:prstGeom prst="rect">
                <a:avLst/>
              </a:prstGeom>
            </p:spPr>
          </p:pic>
        </mc:Fallback>
      </mc:AlternateContent>
      <p:sp>
        <p:nvSpPr>
          <p:cNvPr id="22" name="Rectangle 21">
            <a:extLst>
              <a:ext uri="{FF2B5EF4-FFF2-40B4-BE49-F238E27FC236}">
                <a16:creationId xmlns:a16="http://schemas.microsoft.com/office/drawing/2014/main" id="{740D056F-2F1F-A026-6DDD-494663539C33}"/>
              </a:ext>
            </a:extLst>
          </p:cNvPr>
          <p:cNvSpPr/>
          <p:nvPr/>
        </p:nvSpPr>
        <p:spPr>
          <a:xfrm>
            <a:off x="6729984" y="5953638"/>
            <a:ext cx="1550821" cy="23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Tree>
    <p:extLst>
      <p:ext uri="{BB962C8B-B14F-4D97-AF65-F5344CB8AC3E}">
        <p14:creationId xmlns:p14="http://schemas.microsoft.com/office/powerpoint/2010/main" val="1638840574"/>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63B69A-81AE-27A9-8AB5-59642AC47E78}"/>
              </a:ext>
            </a:extLst>
          </p:cNvPr>
          <p:cNvSpPr>
            <a:spLocks noGrp="1"/>
          </p:cNvSpPr>
          <p:nvPr>
            <p:ph type="body" sz="quarter" idx="13"/>
          </p:nvPr>
        </p:nvSpPr>
        <p:spPr>
          <a:xfrm>
            <a:off x="250825" y="6273800"/>
            <a:ext cx="8355774" cy="360357"/>
          </a:xfrm>
        </p:spPr>
        <p:txBody>
          <a:bodyPr/>
          <a:lstStyle/>
          <a:p>
            <a:r>
              <a:rPr lang="en-US"/>
              <a:t>Sources: </a:t>
            </a:r>
            <a:r>
              <a:rPr lang="en-US" err="1"/>
              <a:t>Addus</a:t>
            </a:r>
            <a:r>
              <a:rPr lang="en-US"/>
              <a:t> 10-K</a:t>
            </a:r>
          </a:p>
          <a:p>
            <a:endParaRPr lang="en-CA"/>
          </a:p>
        </p:txBody>
      </p:sp>
      <p:sp>
        <p:nvSpPr>
          <p:cNvPr id="3" name="Text Placeholder 2">
            <a:extLst>
              <a:ext uri="{FF2B5EF4-FFF2-40B4-BE49-F238E27FC236}">
                <a16:creationId xmlns:a16="http://schemas.microsoft.com/office/drawing/2014/main" id="{1C365D33-FFED-D8CD-11DA-7D6004F51066}"/>
              </a:ext>
            </a:extLst>
          </p:cNvPr>
          <p:cNvSpPr>
            <a:spLocks noGrp="1"/>
          </p:cNvSpPr>
          <p:nvPr>
            <p:ph type="body" sz="quarter" idx="21"/>
          </p:nvPr>
        </p:nvSpPr>
        <p:spPr/>
        <p:txBody>
          <a:bodyPr/>
          <a:lstStyle/>
          <a:p>
            <a:r>
              <a:rPr lang="en-CA" err="1"/>
              <a:t>Addus</a:t>
            </a:r>
            <a:r>
              <a:rPr lang="en-CA"/>
              <a:t> has 3 distinct product lines to cater towards customers seeking a lowest cost alternative to care.</a:t>
            </a:r>
          </a:p>
        </p:txBody>
      </p:sp>
      <p:sp>
        <p:nvSpPr>
          <p:cNvPr id="4" name="Title 3">
            <a:extLst>
              <a:ext uri="{FF2B5EF4-FFF2-40B4-BE49-F238E27FC236}">
                <a16:creationId xmlns:a16="http://schemas.microsoft.com/office/drawing/2014/main" id="{84098291-9D0B-3BCE-D16D-DD87A2835626}"/>
              </a:ext>
            </a:extLst>
          </p:cNvPr>
          <p:cNvSpPr>
            <a:spLocks noGrp="1"/>
          </p:cNvSpPr>
          <p:nvPr>
            <p:ph type="title"/>
          </p:nvPr>
        </p:nvSpPr>
        <p:spPr/>
        <p:txBody>
          <a:bodyPr/>
          <a:lstStyle/>
          <a:p>
            <a:r>
              <a:rPr lang="en-US"/>
              <a:t>Product Lines &amp; Revenue Breakdown</a:t>
            </a:r>
            <a:endParaRPr lang="en-CA"/>
          </a:p>
        </p:txBody>
      </p:sp>
      <p:sp>
        <p:nvSpPr>
          <p:cNvPr id="5" name="Text Placeholder 4">
            <a:extLst>
              <a:ext uri="{FF2B5EF4-FFF2-40B4-BE49-F238E27FC236}">
                <a16:creationId xmlns:a16="http://schemas.microsoft.com/office/drawing/2014/main" id="{C5054830-C1A4-55DC-9FF2-F16EAACBB4A9}"/>
              </a:ext>
            </a:extLst>
          </p:cNvPr>
          <p:cNvSpPr>
            <a:spLocks noGrp="1"/>
          </p:cNvSpPr>
          <p:nvPr>
            <p:ph type="body" idx="22"/>
          </p:nvPr>
        </p:nvSpPr>
        <p:spPr/>
        <p:txBody>
          <a:bodyPr/>
          <a:lstStyle/>
          <a:p>
            <a:r>
              <a:rPr lang="en-US"/>
              <a:t>Product Lines </a:t>
            </a:r>
          </a:p>
        </p:txBody>
      </p:sp>
      <p:sp>
        <p:nvSpPr>
          <p:cNvPr id="7" name="Text Placeholder 6">
            <a:extLst>
              <a:ext uri="{FF2B5EF4-FFF2-40B4-BE49-F238E27FC236}">
                <a16:creationId xmlns:a16="http://schemas.microsoft.com/office/drawing/2014/main" id="{94B32E49-48FA-046F-1082-7E02C0650311}"/>
              </a:ext>
            </a:extLst>
          </p:cNvPr>
          <p:cNvSpPr>
            <a:spLocks noGrp="1"/>
          </p:cNvSpPr>
          <p:nvPr>
            <p:ph type="body" idx="26"/>
          </p:nvPr>
        </p:nvSpPr>
        <p:spPr/>
        <p:txBody>
          <a:bodyPr/>
          <a:lstStyle/>
          <a:p>
            <a:r>
              <a:rPr lang="en-US"/>
              <a:t>Revenue Segmentation</a:t>
            </a:r>
          </a:p>
        </p:txBody>
      </p:sp>
      <p:sp>
        <p:nvSpPr>
          <p:cNvPr id="8" name="Text Placeholder 7">
            <a:extLst>
              <a:ext uri="{FF2B5EF4-FFF2-40B4-BE49-F238E27FC236}">
                <a16:creationId xmlns:a16="http://schemas.microsoft.com/office/drawing/2014/main" id="{82B7DDE8-075C-534C-4DDC-B62603D86BFE}"/>
              </a:ext>
            </a:extLst>
          </p:cNvPr>
          <p:cNvSpPr>
            <a:spLocks noGrp="1"/>
          </p:cNvSpPr>
          <p:nvPr>
            <p:ph type="body" idx="27"/>
          </p:nvPr>
        </p:nvSpPr>
        <p:spPr/>
        <p:txBody>
          <a:bodyPr/>
          <a:lstStyle/>
          <a:p>
            <a:r>
              <a:rPr lang="en-CA"/>
              <a:t>Healthcare Continuum of Care</a:t>
            </a:r>
          </a:p>
        </p:txBody>
      </p:sp>
      <p:sp>
        <p:nvSpPr>
          <p:cNvPr id="9" name="Content Placeholder 8">
            <a:extLst>
              <a:ext uri="{FF2B5EF4-FFF2-40B4-BE49-F238E27FC236}">
                <a16:creationId xmlns:a16="http://schemas.microsoft.com/office/drawing/2014/main" id="{FFDEFB4F-10E6-734A-11A5-7B571E267CFF}"/>
              </a:ext>
            </a:extLst>
          </p:cNvPr>
          <p:cNvSpPr>
            <a:spLocks noGrp="1"/>
          </p:cNvSpPr>
          <p:nvPr>
            <p:ph sz="quarter" idx="28"/>
          </p:nvPr>
        </p:nvSpPr>
        <p:spPr/>
        <p:txBody>
          <a:bodyPr/>
          <a:lstStyle/>
          <a:p>
            <a:r>
              <a:rPr lang="en-US" err="1"/>
              <a:t>Addus</a:t>
            </a:r>
            <a:r>
              <a:rPr lang="en-US"/>
              <a:t> Homecare operates across three key segments, providing comprehensive and essential services to meet diverse healthcare needs which include:</a:t>
            </a:r>
          </a:p>
          <a:p>
            <a:pPr lvl="1"/>
            <a:r>
              <a:rPr lang="en-US" b="1"/>
              <a:t>Personal Care </a:t>
            </a:r>
            <a:r>
              <a:rPr lang="en-US"/>
              <a:t>– Offering non-medical assistance with daily activities such as bathing, grooming, meal preparation, light housekeeping, and transportation, enabling clients to maintain independence and quality of life at home.</a:t>
            </a:r>
          </a:p>
          <a:p>
            <a:pPr lvl="1"/>
            <a:r>
              <a:rPr lang="en-US" b="1"/>
              <a:t>Home Health Care </a:t>
            </a:r>
            <a:r>
              <a:rPr lang="en-US"/>
              <a:t>– Delivering skilled medical services, including nursing care, physical therapy, and other specialized treatments, to support recovery and chronic condition management in a home setting.</a:t>
            </a:r>
          </a:p>
          <a:p>
            <a:pPr lvl="1"/>
            <a:r>
              <a:rPr lang="en-US" b="1"/>
              <a:t>Hospice Care </a:t>
            </a:r>
            <a:r>
              <a:rPr lang="en-US"/>
              <a:t>– Providing compassionate palliative care focused on comfort and quality of life for terminally ill patients and emotional and practical support for their families during end-of-life care.</a:t>
            </a:r>
            <a:endParaRPr lang="en-CA"/>
          </a:p>
        </p:txBody>
      </p:sp>
      <p:graphicFrame>
        <p:nvGraphicFramePr>
          <p:cNvPr id="11" name="Content Placeholder 15">
            <a:extLst>
              <a:ext uri="{FF2B5EF4-FFF2-40B4-BE49-F238E27FC236}">
                <a16:creationId xmlns:a16="http://schemas.microsoft.com/office/drawing/2014/main" id="{D9CA7A16-2B0B-D524-3350-54796BE875E4}"/>
              </a:ext>
            </a:extLst>
          </p:cNvPr>
          <p:cNvGraphicFramePr>
            <a:graphicFrameLocks noGrp="1"/>
          </p:cNvGraphicFramePr>
          <p:nvPr>
            <p:ph sz="quarter" idx="23"/>
            <p:extLst>
              <p:ext uri="{D42A27DB-BD31-4B8C-83A1-F6EECF244321}">
                <p14:modId xmlns:p14="http://schemas.microsoft.com/office/powerpoint/2010/main" val="386241359"/>
              </p:ext>
            </p:extLst>
          </p:nvPr>
        </p:nvGraphicFramePr>
        <p:xfrm>
          <a:off x="250825" y="1384299"/>
          <a:ext cx="4141788" cy="2178050"/>
        </p:xfrm>
        <a:graphic>
          <a:graphicData uri="http://schemas.openxmlformats.org/drawingml/2006/chart">
            <c:chart xmlns:c="http://schemas.openxmlformats.org/drawingml/2006/chart" xmlns:r="http://schemas.openxmlformats.org/officeDocument/2006/relationships" r:id="rId3"/>
          </a:graphicData>
        </a:graphic>
      </p:graphicFrame>
      <p:cxnSp>
        <p:nvCxnSpPr>
          <p:cNvPr id="13" name="Straight Connector 12">
            <a:extLst>
              <a:ext uri="{FF2B5EF4-FFF2-40B4-BE49-F238E27FC236}">
                <a16:creationId xmlns:a16="http://schemas.microsoft.com/office/drawing/2014/main" id="{4FE60E69-9884-292F-0CF8-95F39ABB2231}"/>
              </a:ext>
            </a:extLst>
          </p:cNvPr>
          <p:cNvCxnSpPr>
            <a:cxnSpLocks/>
          </p:cNvCxnSpPr>
          <p:nvPr/>
        </p:nvCxnSpPr>
        <p:spPr>
          <a:xfrm>
            <a:off x="1798820" y="4534524"/>
            <a:ext cx="0" cy="36725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Arrow: Left-Right 9">
            <a:extLst>
              <a:ext uri="{FF2B5EF4-FFF2-40B4-BE49-F238E27FC236}">
                <a16:creationId xmlns:a16="http://schemas.microsoft.com/office/drawing/2014/main" id="{B80E28F2-8EE9-AB74-52B3-BC8C7EC08487}"/>
              </a:ext>
            </a:extLst>
          </p:cNvPr>
          <p:cNvSpPr/>
          <p:nvPr/>
        </p:nvSpPr>
        <p:spPr>
          <a:xfrm>
            <a:off x="250825" y="4660986"/>
            <a:ext cx="8642348" cy="921895"/>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cxnSp>
        <p:nvCxnSpPr>
          <p:cNvPr id="16" name="Straight Connector 15">
            <a:extLst>
              <a:ext uri="{FF2B5EF4-FFF2-40B4-BE49-F238E27FC236}">
                <a16:creationId xmlns:a16="http://schemas.microsoft.com/office/drawing/2014/main" id="{45953206-1855-DD0A-9A66-E0B718DD85FE}"/>
              </a:ext>
            </a:extLst>
          </p:cNvPr>
          <p:cNvCxnSpPr>
            <a:cxnSpLocks/>
          </p:cNvCxnSpPr>
          <p:nvPr/>
        </p:nvCxnSpPr>
        <p:spPr>
          <a:xfrm>
            <a:off x="1411574" y="5338997"/>
            <a:ext cx="0" cy="36725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4EC4780-B636-7453-7951-CA186FE1F118}"/>
              </a:ext>
            </a:extLst>
          </p:cNvPr>
          <p:cNvSpPr txBox="1"/>
          <p:nvPr/>
        </p:nvSpPr>
        <p:spPr>
          <a:xfrm>
            <a:off x="389745" y="4937055"/>
            <a:ext cx="779488" cy="369332"/>
          </a:xfrm>
          <a:prstGeom prst="rect">
            <a:avLst/>
          </a:prstGeom>
          <a:noFill/>
        </p:spPr>
        <p:txBody>
          <a:bodyPr wrap="square" rtlCol="0">
            <a:spAutoFit/>
          </a:bodyPr>
          <a:lstStyle/>
          <a:p>
            <a:pPr algn="ctr"/>
            <a:r>
              <a:rPr lang="en-CA" sz="900" b="1" i="1">
                <a:solidFill>
                  <a:schemeClr val="bg1"/>
                </a:solidFill>
              </a:rPr>
              <a:t>Lowest Cost</a:t>
            </a:r>
          </a:p>
        </p:txBody>
      </p:sp>
      <p:sp>
        <p:nvSpPr>
          <p:cNvPr id="18" name="TextBox 17">
            <a:extLst>
              <a:ext uri="{FF2B5EF4-FFF2-40B4-BE49-F238E27FC236}">
                <a16:creationId xmlns:a16="http://schemas.microsoft.com/office/drawing/2014/main" id="{4A1C3306-24B9-CB06-C326-3C1DB82E17F9}"/>
              </a:ext>
            </a:extLst>
          </p:cNvPr>
          <p:cNvSpPr txBox="1"/>
          <p:nvPr/>
        </p:nvSpPr>
        <p:spPr>
          <a:xfrm>
            <a:off x="1226929" y="4938315"/>
            <a:ext cx="874425" cy="369332"/>
          </a:xfrm>
          <a:prstGeom prst="rect">
            <a:avLst/>
          </a:prstGeom>
          <a:noFill/>
        </p:spPr>
        <p:txBody>
          <a:bodyPr wrap="square" rtlCol="0">
            <a:spAutoFit/>
          </a:bodyPr>
          <a:lstStyle/>
          <a:p>
            <a:pPr algn="ctr"/>
            <a:r>
              <a:rPr lang="en-CA" sz="900" b="1">
                <a:solidFill>
                  <a:schemeClr val="bg1"/>
                </a:solidFill>
              </a:rPr>
              <a:t>Community Services</a:t>
            </a:r>
          </a:p>
        </p:txBody>
      </p:sp>
      <p:sp>
        <p:nvSpPr>
          <p:cNvPr id="19" name="TextBox 18">
            <a:extLst>
              <a:ext uri="{FF2B5EF4-FFF2-40B4-BE49-F238E27FC236}">
                <a16:creationId xmlns:a16="http://schemas.microsoft.com/office/drawing/2014/main" id="{781F9575-5C84-87F3-69C4-E8B7C436C813}"/>
              </a:ext>
            </a:extLst>
          </p:cNvPr>
          <p:cNvSpPr txBox="1"/>
          <p:nvPr/>
        </p:nvSpPr>
        <p:spPr>
          <a:xfrm>
            <a:off x="8052217" y="4931851"/>
            <a:ext cx="779488" cy="369332"/>
          </a:xfrm>
          <a:prstGeom prst="rect">
            <a:avLst/>
          </a:prstGeom>
          <a:noFill/>
        </p:spPr>
        <p:txBody>
          <a:bodyPr wrap="square" rtlCol="0">
            <a:spAutoFit/>
          </a:bodyPr>
          <a:lstStyle/>
          <a:p>
            <a:pPr algn="ctr"/>
            <a:r>
              <a:rPr lang="en-CA" sz="900" b="1" i="1">
                <a:solidFill>
                  <a:schemeClr val="bg1"/>
                </a:solidFill>
              </a:rPr>
              <a:t>Highest Cost</a:t>
            </a:r>
          </a:p>
        </p:txBody>
      </p:sp>
      <p:cxnSp>
        <p:nvCxnSpPr>
          <p:cNvPr id="21" name="Straight Connector 20">
            <a:extLst>
              <a:ext uri="{FF2B5EF4-FFF2-40B4-BE49-F238E27FC236}">
                <a16:creationId xmlns:a16="http://schemas.microsoft.com/office/drawing/2014/main" id="{71FE2B66-9AC7-0603-99DD-E44F97338152}"/>
              </a:ext>
            </a:extLst>
          </p:cNvPr>
          <p:cNvCxnSpPr>
            <a:cxnSpLocks/>
          </p:cNvCxnSpPr>
          <p:nvPr/>
        </p:nvCxnSpPr>
        <p:spPr>
          <a:xfrm>
            <a:off x="2888104" y="4534525"/>
            <a:ext cx="0" cy="36725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D82085E-8238-D556-E2B7-D2B992E83151}"/>
              </a:ext>
            </a:extLst>
          </p:cNvPr>
          <p:cNvCxnSpPr>
            <a:cxnSpLocks/>
          </p:cNvCxnSpPr>
          <p:nvPr/>
        </p:nvCxnSpPr>
        <p:spPr>
          <a:xfrm>
            <a:off x="3580174" y="4534524"/>
            <a:ext cx="0" cy="36725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07CD5A1-A95E-FFD7-69C8-AA0BB596E7F8}"/>
              </a:ext>
            </a:extLst>
          </p:cNvPr>
          <p:cNvCxnSpPr>
            <a:cxnSpLocks/>
          </p:cNvCxnSpPr>
          <p:nvPr/>
        </p:nvCxnSpPr>
        <p:spPr>
          <a:xfrm>
            <a:off x="2635769" y="5338997"/>
            <a:ext cx="0" cy="36725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6CA01A0-0A61-E191-D016-0096EB70077B}"/>
              </a:ext>
            </a:extLst>
          </p:cNvPr>
          <p:cNvCxnSpPr>
            <a:cxnSpLocks/>
          </p:cNvCxnSpPr>
          <p:nvPr/>
        </p:nvCxnSpPr>
        <p:spPr>
          <a:xfrm>
            <a:off x="3510194" y="5338995"/>
            <a:ext cx="0" cy="36725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3335F69-5CF3-8533-FAC2-8AC8ADA4C3D2}"/>
              </a:ext>
            </a:extLst>
          </p:cNvPr>
          <p:cNvCxnSpPr>
            <a:cxnSpLocks/>
          </p:cNvCxnSpPr>
          <p:nvPr/>
        </p:nvCxnSpPr>
        <p:spPr>
          <a:xfrm>
            <a:off x="5941985" y="5338995"/>
            <a:ext cx="0" cy="36725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03E2451-034A-E8A0-C1D0-001B8396667C}"/>
              </a:ext>
            </a:extLst>
          </p:cNvPr>
          <p:cNvCxnSpPr>
            <a:cxnSpLocks/>
          </p:cNvCxnSpPr>
          <p:nvPr/>
        </p:nvCxnSpPr>
        <p:spPr>
          <a:xfrm>
            <a:off x="6817283" y="4534524"/>
            <a:ext cx="0" cy="36725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D85C00E-C2E5-613A-142D-0F8E2AF4A2DF}"/>
              </a:ext>
            </a:extLst>
          </p:cNvPr>
          <p:cNvSpPr txBox="1"/>
          <p:nvPr/>
        </p:nvSpPr>
        <p:spPr>
          <a:xfrm>
            <a:off x="2635769" y="4996017"/>
            <a:ext cx="874425" cy="230832"/>
          </a:xfrm>
          <a:prstGeom prst="rect">
            <a:avLst/>
          </a:prstGeom>
          <a:noFill/>
        </p:spPr>
        <p:txBody>
          <a:bodyPr wrap="square" rtlCol="0">
            <a:spAutoFit/>
          </a:bodyPr>
          <a:lstStyle/>
          <a:p>
            <a:pPr algn="ctr"/>
            <a:r>
              <a:rPr lang="en-CA" sz="900" b="1">
                <a:solidFill>
                  <a:schemeClr val="bg1"/>
                </a:solidFill>
              </a:rPr>
              <a:t>Home Care</a:t>
            </a:r>
          </a:p>
        </p:txBody>
      </p:sp>
      <p:sp>
        <p:nvSpPr>
          <p:cNvPr id="28" name="TextBox 27">
            <a:extLst>
              <a:ext uri="{FF2B5EF4-FFF2-40B4-BE49-F238E27FC236}">
                <a16:creationId xmlns:a16="http://schemas.microsoft.com/office/drawing/2014/main" id="{8BB1FD94-4725-19EB-30B8-D245E2B216F3}"/>
              </a:ext>
            </a:extLst>
          </p:cNvPr>
          <p:cNvSpPr txBox="1"/>
          <p:nvPr/>
        </p:nvSpPr>
        <p:spPr>
          <a:xfrm>
            <a:off x="4167041" y="4996017"/>
            <a:ext cx="1004343" cy="230832"/>
          </a:xfrm>
          <a:prstGeom prst="rect">
            <a:avLst/>
          </a:prstGeom>
          <a:noFill/>
        </p:spPr>
        <p:txBody>
          <a:bodyPr wrap="square" rtlCol="0">
            <a:spAutoFit/>
          </a:bodyPr>
          <a:lstStyle/>
          <a:p>
            <a:pPr algn="ctr"/>
            <a:r>
              <a:rPr lang="en-CA" sz="900" b="1">
                <a:solidFill>
                  <a:schemeClr val="bg1"/>
                </a:solidFill>
              </a:rPr>
              <a:t>Nursing Home</a:t>
            </a:r>
          </a:p>
        </p:txBody>
      </p:sp>
      <p:sp>
        <p:nvSpPr>
          <p:cNvPr id="29" name="TextBox 28">
            <a:extLst>
              <a:ext uri="{FF2B5EF4-FFF2-40B4-BE49-F238E27FC236}">
                <a16:creationId xmlns:a16="http://schemas.microsoft.com/office/drawing/2014/main" id="{40440807-9B23-993C-0CCA-984F49D479B8}"/>
              </a:ext>
            </a:extLst>
          </p:cNvPr>
          <p:cNvSpPr txBox="1"/>
          <p:nvPr/>
        </p:nvSpPr>
        <p:spPr>
          <a:xfrm>
            <a:off x="5134075" y="4927133"/>
            <a:ext cx="1004343" cy="369332"/>
          </a:xfrm>
          <a:prstGeom prst="rect">
            <a:avLst/>
          </a:prstGeom>
          <a:noFill/>
        </p:spPr>
        <p:txBody>
          <a:bodyPr wrap="square" rtlCol="0">
            <a:spAutoFit/>
          </a:bodyPr>
          <a:lstStyle/>
          <a:p>
            <a:pPr algn="ctr"/>
            <a:r>
              <a:rPr lang="en-CA" sz="900" b="1">
                <a:solidFill>
                  <a:schemeClr val="bg1"/>
                </a:solidFill>
              </a:rPr>
              <a:t>Skilled Nursing</a:t>
            </a:r>
          </a:p>
        </p:txBody>
      </p:sp>
      <p:sp>
        <p:nvSpPr>
          <p:cNvPr id="30" name="TextBox 29">
            <a:extLst>
              <a:ext uri="{FF2B5EF4-FFF2-40B4-BE49-F238E27FC236}">
                <a16:creationId xmlns:a16="http://schemas.microsoft.com/office/drawing/2014/main" id="{50AFBB44-1EA7-D42E-1478-FD8DFCE346ED}"/>
              </a:ext>
            </a:extLst>
          </p:cNvPr>
          <p:cNvSpPr txBox="1"/>
          <p:nvPr/>
        </p:nvSpPr>
        <p:spPr>
          <a:xfrm>
            <a:off x="5979044" y="4996017"/>
            <a:ext cx="1004343" cy="230832"/>
          </a:xfrm>
          <a:prstGeom prst="rect">
            <a:avLst/>
          </a:prstGeom>
          <a:noFill/>
        </p:spPr>
        <p:txBody>
          <a:bodyPr wrap="square" rtlCol="0">
            <a:spAutoFit/>
          </a:bodyPr>
          <a:lstStyle/>
          <a:p>
            <a:pPr algn="ctr"/>
            <a:r>
              <a:rPr lang="en-CA" sz="900" b="1">
                <a:solidFill>
                  <a:schemeClr val="bg1"/>
                </a:solidFill>
              </a:rPr>
              <a:t>LTACH</a:t>
            </a:r>
          </a:p>
        </p:txBody>
      </p:sp>
      <p:sp>
        <p:nvSpPr>
          <p:cNvPr id="31" name="TextBox 30">
            <a:extLst>
              <a:ext uri="{FF2B5EF4-FFF2-40B4-BE49-F238E27FC236}">
                <a16:creationId xmlns:a16="http://schemas.microsoft.com/office/drawing/2014/main" id="{0E689BBC-6413-9177-2A95-E6004258401C}"/>
              </a:ext>
            </a:extLst>
          </p:cNvPr>
          <p:cNvSpPr txBox="1"/>
          <p:nvPr/>
        </p:nvSpPr>
        <p:spPr>
          <a:xfrm>
            <a:off x="7044855" y="4996017"/>
            <a:ext cx="1004343" cy="230832"/>
          </a:xfrm>
          <a:prstGeom prst="rect">
            <a:avLst/>
          </a:prstGeom>
          <a:noFill/>
        </p:spPr>
        <p:txBody>
          <a:bodyPr wrap="square" rtlCol="0">
            <a:spAutoFit/>
          </a:bodyPr>
          <a:lstStyle/>
          <a:p>
            <a:pPr algn="ctr"/>
            <a:r>
              <a:rPr lang="en-CA" sz="900" b="1">
                <a:solidFill>
                  <a:schemeClr val="bg1"/>
                </a:solidFill>
              </a:rPr>
              <a:t>Hospitalization</a:t>
            </a:r>
          </a:p>
        </p:txBody>
      </p:sp>
      <p:sp>
        <p:nvSpPr>
          <p:cNvPr id="32" name="TextBox 31">
            <a:extLst>
              <a:ext uri="{FF2B5EF4-FFF2-40B4-BE49-F238E27FC236}">
                <a16:creationId xmlns:a16="http://schemas.microsoft.com/office/drawing/2014/main" id="{2D8E779C-1E72-7EA9-2E81-44E93D0CAB92}"/>
              </a:ext>
            </a:extLst>
          </p:cNvPr>
          <p:cNvSpPr txBox="1"/>
          <p:nvPr/>
        </p:nvSpPr>
        <p:spPr>
          <a:xfrm>
            <a:off x="988361" y="5706255"/>
            <a:ext cx="874425" cy="369332"/>
          </a:xfrm>
          <a:prstGeom prst="rect">
            <a:avLst/>
          </a:prstGeom>
          <a:noFill/>
        </p:spPr>
        <p:txBody>
          <a:bodyPr wrap="square" rtlCol="0">
            <a:spAutoFit/>
          </a:bodyPr>
          <a:lstStyle/>
          <a:p>
            <a:pPr algn="ctr"/>
            <a:r>
              <a:rPr lang="en-CA" sz="900"/>
              <a:t>Wellness Programs</a:t>
            </a:r>
          </a:p>
        </p:txBody>
      </p:sp>
      <p:sp>
        <p:nvSpPr>
          <p:cNvPr id="33" name="TextBox 32">
            <a:extLst>
              <a:ext uri="{FF2B5EF4-FFF2-40B4-BE49-F238E27FC236}">
                <a16:creationId xmlns:a16="http://schemas.microsoft.com/office/drawing/2014/main" id="{F2191B9D-C5D5-E8E0-34EF-BC1A7C1E2DE7}"/>
              </a:ext>
            </a:extLst>
          </p:cNvPr>
          <p:cNvSpPr txBox="1"/>
          <p:nvPr/>
        </p:nvSpPr>
        <p:spPr>
          <a:xfrm>
            <a:off x="1243800" y="4192545"/>
            <a:ext cx="1053791" cy="369332"/>
          </a:xfrm>
          <a:prstGeom prst="rect">
            <a:avLst/>
          </a:prstGeom>
          <a:noFill/>
        </p:spPr>
        <p:txBody>
          <a:bodyPr wrap="square" rtlCol="0">
            <a:spAutoFit/>
          </a:bodyPr>
          <a:lstStyle/>
          <a:p>
            <a:pPr algn="ctr"/>
            <a:r>
              <a:rPr lang="en-CA" sz="900"/>
              <a:t>Care / Disease Management</a:t>
            </a:r>
          </a:p>
        </p:txBody>
      </p:sp>
      <p:sp>
        <p:nvSpPr>
          <p:cNvPr id="34" name="Rectangle 33">
            <a:extLst>
              <a:ext uri="{FF2B5EF4-FFF2-40B4-BE49-F238E27FC236}">
                <a16:creationId xmlns:a16="http://schemas.microsoft.com/office/drawing/2014/main" id="{77962406-76F4-2B8F-5990-F235BBADE22C}"/>
              </a:ext>
            </a:extLst>
          </p:cNvPr>
          <p:cNvSpPr/>
          <p:nvPr/>
        </p:nvSpPr>
        <p:spPr>
          <a:xfrm>
            <a:off x="2209862" y="4133356"/>
            <a:ext cx="1895710" cy="1942231"/>
          </a:xfrm>
          <a:prstGeom prst="rect">
            <a:avLst/>
          </a:prstGeom>
          <a:noFill/>
          <a:ln w="285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a:p>
        </p:txBody>
      </p:sp>
      <p:sp>
        <p:nvSpPr>
          <p:cNvPr id="35" name="TextBox 34">
            <a:extLst>
              <a:ext uri="{FF2B5EF4-FFF2-40B4-BE49-F238E27FC236}">
                <a16:creationId xmlns:a16="http://schemas.microsoft.com/office/drawing/2014/main" id="{78665051-982B-FF55-1E06-D7C7B8AE77A5}"/>
              </a:ext>
            </a:extLst>
          </p:cNvPr>
          <p:cNvSpPr txBox="1"/>
          <p:nvPr/>
        </p:nvSpPr>
        <p:spPr>
          <a:xfrm>
            <a:off x="2181781" y="5706254"/>
            <a:ext cx="963888" cy="230832"/>
          </a:xfrm>
          <a:prstGeom prst="rect">
            <a:avLst/>
          </a:prstGeom>
          <a:noFill/>
        </p:spPr>
        <p:txBody>
          <a:bodyPr wrap="square" rtlCol="0">
            <a:spAutoFit/>
          </a:bodyPr>
          <a:lstStyle/>
          <a:p>
            <a:pPr algn="ctr"/>
            <a:r>
              <a:rPr lang="en-CA" sz="900"/>
              <a:t>Personal Care</a:t>
            </a:r>
          </a:p>
        </p:txBody>
      </p:sp>
      <p:sp>
        <p:nvSpPr>
          <p:cNvPr id="36" name="TextBox 35">
            <a:extLst>
              <a:ext uri="{FF2B5EF4-FFF2-40B4-BE49-F238E27FC236}">
                <a16:creationId xmlns:a16="http://schemas.microsoft.com/office/drawing/2014/main" id="{E7E5EFBE-3E7E-EF67-033B-EAB5836FE1FF}"/>
              </a:ext>
            </a:extLst>
          </p:cNvPr>
          <p:cNvSpPr txBox="1"/>
          <p:nvPr/>
        </p:nvSpPr>
        <p:spPr>
          <a:xfrm>
            <a:off x="3046546" y="5713818"/>
            <a:ext cx="963888" cy="230832"/>
          </a:xfrm>
          <a:prstGeom prst="rect">
            <a:avLst/>
          </a:prstGeom>
          <a:noFill/>
        </p:spPr>
        <p:txBody>
          <a:bodyPr wrap="square" rtlCol="0">
            <a:spAutoFit/>
          </a:bodyPr>
          <a:lstStyle/>
          <a:p>
            <a:pPr algn="ctr"/>
            <a:r>
              <a:rPr lang="en-CA" sz="900"/>
              <a:t>Palliative Care</a:t>
            </a:r>
          </a:p>
        </p:txBody>
      </p:sp>
      <p:sp>
        <p:nvSpPr>
          <p:cNvPr id="37" name="TextBox 36">
            <a:extLst>
              <a:ext uri="{FF2B5EF4-FFF2-40B4-BE49-F238E27FC236}">
                <a16:creationId xmlns:a16="http://schemas.microsoft.com/office/drawing/2014/main" id="{F88239AE-E171-51F6-8F6C-E10EEA0C1CC2}"/>
              </a:ext>
            </a:extLst>
          </p:cNvPr>
          <p:cNvSpPr txBox="1"/>
          <p:nvPr/>
        </p:nvSpPr>
        <p:spPr>
          <a:xfrm>
            <a:off x="2402534" y="4211358"/>
            <a:ext cx="963888" cy="369332"/>
          </a:xfrm>
          <a:prstGeom prst="rect">
            <a:avLst/>
          </a:prstGeom>
          <a:noFill/>
        </p:spPr>
        <p:txBody>
          <a:bodyPr wrap="square" rtlCol="0">
            <a:spAutoFit/>
          </a:bodyPr>
          <a:lstStyle/>
          <a:p>
            <a:pPr algn="ctr"/>
            <a:r>
              <a:rPr lang="en-CA" sz="900"/>
              <a:t>Home Health Care</a:t>
            </a:r>
          </a:p>
        </p:txBody>
      </p:sp>
      <p:sp>
        <p:nvSpPr>
          <p:cNvPr id="38" name="TextBox 37">
            <a:extLst>
              <a:ext uri="{FF2B5EF4-FFF2-40B4-BE49-F238E27FC236}">
                <a16:creationId xmlns:a16="http://schemas.microsoft.com/office/drawing/2014/main" id="{C7C9EB2D-48AB-0D73-5FC8-6E2D92497AB7}"/>
              </a:ext>
            </a:extLst>
          </p:cNvPr>
          <p:cNvSpPr txBox="1"/>
          <p:nvPr/>
        </p:nvSpPr>
        <p:spPr>
          <a:xfrm>
            <a:off x="3110471" y="4299217"/>
            <a:ext cx="963888" cy="230832"/>
          </a:xfrm>
          <a:prstGeom prst="rect">
            <a:avLst/>
          </a:prstGeom>
          <a:noFill/>
        </p:spPr>
        <p:txBody>
          <a:bodyPr wrap="square" rtlCol="0">
            <a:spAutoFit/>
          </a:bodyPr>
          <a:lstStyle/>
          <a:p>
            <a:pPr algn="ctr"/>
            <a:r>
              <a:rPr lang="en-CA" sz="900"/>
              <a:t>Hospice</a:t>
            </a:r>
          </a:p>
        </p:txBody>
      </p:sp>
      <p:sp>
        <p:nvSpPr>
          <p:cNvPr id="39" name="TextBox 38">
            <a:extLst>
              <a:ext uri="{FF2B5EF4-FFF2-40B4-BE49-F238E27FC236}">
                <a16:creationId xmlns:a16="http://schemas.microsoft.com/office/drawing/2014/main" id="{92178258-8725-941A-FED2-AA0DEEFE9706}"/>
              </a:ext>
            </a:extLst>
          </p:cNvPr>
          <p:cNvSpPr txBox="1"/>
          <p:nvPr/>
        </p:nvSpPr>
        <p:spPr>
          <a:xfrm>
            <a:off x="5263364" y="5733612"/>
            <a:ext cx="1357242" cy="230832"/>
          </a:xfrm>
          <a:prstGeom prst="rect">
            <a:avLst/>
          </a:prstGeom>
          <a:noFill/>
        </p:spPr>
        <p:txBody>
          <a:bodyPr wrap="square" rtlCol="0">
            <a:spAutoFit/>
          </a:bodyPr>
          <a:lstStyle/>
          <a:p>
            <a:pPr algn="ctr"/>
            <a:r>
              <a:rPr lang="en-CA" sz="900"/>
              <a:t>Outpatient Therapies</a:t>
            </a:r>
          </a:p>
        </p:txBody>
      </p:sp>
      <p:sp>
        <p:nvSpPr>
          <p:cNvPr id="40" name="TextBox 39">
            <a:extLst>
              <a:ext uri="{FF2B5EF4-FFF2-40B4-BE49-F238E27FC236}">
                <a16:creationId xmlns:a16="http://schemas.microsoft.com/office/drawing/2014/main" id="{E78BD359-5BD6-500A-CE7D-04FFF27D1F6B}"/>
              </a:ext>
            </a:extLst>
          </p:cNvPr>
          <p:cNvSpPr txBox="1"/>
          <p:nvPr/>
        </p:nvSpPr>
        <p:spPr>
          <a:xfrm>
            <a:off x="6138418" y="4331045"/>
            <a:ext cx="1357242" cy="230832"/>
          </a:xfrm>
          <a:prstGeom prst="rect">
            <a:avLst/>
          </a:prstGeom>
          <a:noFill/>
        </p:spPr>
        <p:txBody>
          <a:bodyPr wrap="square" rtlCol="0">
            <a:spAutoFit/>
          </a:bodyPr>
          <a:lstStyle/>
          <a:p>
            <a:pPr algn="ctr"/>
            <a:r>
              <a:rPr lang="en-CA" sz="900"/>
              <a:t>Inpatient Rehab</a:t>
            </a:r>
          </a:p>
        </p:txBody>
      </p:sp>
    </p:spTree>
    <p:extLst>
      <p:ext uri="{BB962C8B-B14F-4D97-AF65-F5344CB8AC3E}">
        <p14:creationId xmlns:p14="http://schemas.microsoft.com/office/powerpoint/2010/main" val="4268655424"/>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84B41-90D1-141A-E550-3EA3756A5F95}"/>
              </a:ext>
            </a:extLst>
          </p:cNvPr>
          <p:cNvSpPr>
            <a:spLocks noGrp="1"/>
          </p:cNvSpPr>
          <p:nvPr>
            <p:ph type="title"/>
          </p:nvPr>
        </p:nvSpPr>
        <p:spPr/>
        <p:txBody>
          <a:bodyPr/>
          <a:lstStyle/>
          <a:p>
            <a:r>
              <a:rPr lang="en-CA"/>
              <a:t>B. Industry Overview</a:t>
            </a:r>
          </a:p>
        </p:txBody>
      </p:sp>
      <p:sp>
        <p:nvSpPr>
          <p:cNvPr id="3" name="Text Placeholder 2">
            <a:extLst>
              <a:ext uri="{FF2B5EF4-FFF2-40B4-BE49-F238E27FC236}">
                <a16:creationId xmlns:a16="http://schemas.microsoft.com/office/drawing/2014/main" id="{D0D53E65-63F9-6341-BDDB-93E66AC8543D}"/>
              </a:ext>
            </a:extLst>
          </p:cNvPr>
          <p:cNvSpPr>
            <a:spLocks noGrp="1"/>
          </p:cNvSpPr>
          <p:nvPr>
            <p:ph type="body" sz="quarter" idx="18"/>
          </p:nvPr>
        </p:nvSpPr>
        <p:spPr/>
        <p:txBody>
          <a:bodyPr/>
          <a:lstStyle/>
          <a:p>
            <a:endParaRPr lang="en-CA"/>
          </a:p>
        </p:txBody>
      </p:sp>
      <p:sp>
        <p:nvSpPr>
          <p:cNvPr id="6" name="Text Placeholder 5">
            <a:extLst>
              <a:ext uri="{FF2B5EF4-FFF2-40B4-BE49-F238E27FC236}">
                <a16:creationId xmlns:a16="http://schemas.microsoft.com/office/drawing/2014/main" id="{17B2B662-0B62-6CCC-5026-05BD10DF3AD1}"/>
              </a:ext>
            </a:extLst>
          </p:cNvPr>
          <p:cNvSpPr>
            <a:spLocks noGrp="1"/>
          </p:cNvSpPr>
          <p:nvPr>
            <p:ph type="body" sz="quarter" idx="19"/>
          </p:nvPr>
        </p:nvSpPr>
        <p:spPr/>
        <p:txBody>
          <a:bodyPr/>
          <a:lstStyle/>
          <a:p>
            <a:endParaRPr lang="en-CA"/>
          </a:p>
        </p:txBody>
      </p:sp>
    </p:spTree>
    <p:extLst>
      <p:ext uri="{BB962C8B-B14F-4D97-AF65-F5344CB8AC3E}">
        <p14:creationId xmlns:p14="http://schemas.microsoft.com/office/powerpoint/2010/main" val="1578569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C4A1AD-D027-8E2F-2A86-E21A8016AC1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4B46763-466D-BB5A-4434-1226A727D85F}"/>
              </a:ext>
            </a:extLst>
          </p:cNvPr>
          <p:cNvSpPr>
            <a:spLocks noGrp="1"/>
          </p:cNvSpPr>
          <p:nvPr>
            <p:ph type="body" sz="quarter" idx="13"/>
          </p:nvPr>
        </p:nvSpPr>
        <p:spPr/>
        <p:txBody>
          <a:bodyPr/>
          <a:lstStyle/>
          <a:p>
            <a:r>
              <a:rPr lang="en-US">
                <a:cs typeface="Arial"/>
              </a:rPr>
              <a:t>Sources: Statista, Centers for Medicare &amp; Medicaid Services, Grand View Research, IBISWorld</a:t>
            </a:r>
          </a:p>
        </p:txBody>
      </p:sp>
      <p:sp>
        <p:nvSpPr>
          <p:cNvPr id="3" name="Text Placeholder 2">
            <a:extLst>
              <a:ext uri="{FF2B5EF4-FFF2-40B4-BE49-F238E27FC236}">
                <a16:creationId xmlns:a16="http://schemas.microsoft.com/office/drawing/2014/main" id="{6A6B2906-BBD6-8A64-39B5-38C77E4C09FD}"/>
              </a:ext>
            </a:extLst>
          </p:cNvPr>
          <p:cNvSpPr>
            <a:spLocks noGrp="1"/>
          </p:cNvSpPr>
          <p:nvPr>
            <p:ph type="body" sz="quarter" idx="21"/>
          </p:nvPr>
        </p:nvSpPr>
        <p:spPr/>
        <p:txBody>
          <a:bodyPr>
            <a:normAutofit/>
          </a:bodyPr>
          <a:lstStyle/>
          <a:p>
            <a:r>
              <a:rPr lang="en-US"/>
              <a:t>Capitalizing on a growing home healthcare market driven by evolving care needs.</a:t>
            </a:r>
          </a:p>
        </p:txBody>
      </p:sp>
      <p:sp>
        <p:nvSpPr>
          <p:cNvPr id="4" name="Title 3">
            <a:extLst>
              <a:ext uri="{FF2B5EF4-FFF2-40B4-BE49-F238E27FC236}">
                <a16:creationId xmlns:a16="http://schemas.microsoft.com/office/drawing/2014/main" id="{A13E8576-A6E7-2B57-3153-BF115648D7A1}"/>
              </a:ext>
            </a:extLst>
          </p:cNvPr>
          <p:cNvSpPr>
            <a:spLocks noGrp="1"/>
          </p:cNvSpPr>
          <p:nvPr>
            <p:ph type="title"/>
          </p:nvPr>
        </p:nvSpPr>
        <p:spPr>
          <a:xfrm>
            <a:off x="245988" y="187585"/>
            <a:ext cx="6658698" cy="395751"/>
          </a:xfrm>
        </p:spPr>
        <p:txBody>
          <a:bodyPr/>
          <a:lstStyle/>
          <a:p>
            <a:r>
              <a:rPr lang="en-US">
                <a:cs typeface="Arial"/>
              </a:rPr>
              <a:t>Industry Overview</a:t>
            </a:r>
            <a:endParaRPr lang="en-US" b="0">
              <a:solidFill>
                <a:srgbClr val="000000"/>
              </a:solidFill>
              <a:cs typeface="Arial"/>
            </a:endParaRPr>
          </a:p>
        </p:txBody>
      </p:sp>
      <p:sp>
        <p:nvSpPr>
          <p:cNvPr id="6" name="Text Placeholder 5">
            <a:extLst>
              <a:ext uri="{FF2B5EF4-FFF2-40B4-BE49-F238E27FC236}">
                <a16:creationId xmlns:a16="http://schemas.microsoft.com/office/drawing/2014/main" id="{DCCB08EC-D708-B493-80F1-C4F686EBCFD1}"/>
              </a:ext>
            </a:extLst>
          </p:cNvPr>
          <p:cNvSpPr>
            <a:spLocks noGrp="1"/>
          </p:cNvSpPr>
          <p:nvPr>
            <p:ph type="body" idx="26"/>
          </p:nvPr>
        </p:nvSpPr>
        <p:spPr/>
        <p:txBody>
          <a:bodyPr/>
          <a:lstStyle/>
          <a:p>
            <a:r>
              <a:rPr lang="en-US">
                <a:cs typeface="Arial"/>
              </a:rPr>
              <a:t>Porter's 5-Forces</a:t>
            </a:r>
            <a:endParaRPr lang="en-US" b="0">
              <a:solidFill>
                <a:srgbClr val="000000"/>
              </a:solidFill>
              <a:cs typeface="Arial"/>
            </a:endParaRPr>
          </a:p>
        </p:txBody>
      </p:sp>
      <p:sp>
        <p:nvSpPr>
          <p:cNvPr id="7" name="Text Placeholder 6">
            <a:extLst>
              <a:ext uri="{FF2B5EF4-FFF2-40B4-BE49-F238E27FC236}">
                <a16:creationId xmlns:a16="http://schemas.microsoft.com/office/drawing/2014/main" id="{24FD7180-FB05-1F03-9FC1-8F68358D45FD}"/>
              </a:ext>
            </a:extLst>
          </p:cNvPr>
          <p:cNvSpPr>
            <a:spLocks noGrp="1"/>
          </p:cNvSpPr>
          <p:nvPr>
            <p:ph type="body" idx="22"/>
          </p:nvPr>
        </p:nvSpPr>
        <p:spPr/>
        <p:txBody>
          <a:bodyPr/>
          <a:lstStyle/>
          <a:p>
            <a:r>
              <a:rPr lang="en-US">
                <a:cs typeface="Arial"/>
              </a:rPr>
              <a:t>Industry Outlook</a:t>
            </a:r>
            <a:endParaRPr lang="en-US" b="0">
              <a:solidFill>
                <a:srgbClr val="000000"/>
              </a:solidFill>
              <a:cs typeface="Arial"/>
            </a:endParaRPr>
          </a:p>
        </p:txBody>
      </p:sp>
      <p:sp>
        <p:nvSpPr>
          <p:cNvPr id="8" name="Content Placeholder 7">
            <a:extLst>
              <a:ext uri="{FF2B5EF4-FFF2-40B4-BE49-F238E27FC236}">
                <a16:creationId xmlns:a16="http://schemas.microsoft.com/office/drawing/2014/main" id="{081D7B18-BAA4-154D-E69E-0AE071D7E701}"/>
              </a:ext>
            </a:extLst>
          </p:cNvPr>
          <p:cNvSpPr>
            <a:spLocks noGrp="1"/>
          </p:cNvSpPr>
          <p:nvPr>
            <p:ph sz="quarter" idx="28"/>
          </p:nvPr>
        </p:nvSpPr>
        <p:spPr/>
        <p:txBody>
          <a:bodyPr vert="horz" lIns="91440" tIns="45720" rIns="91440" bIns="45720" rtlCol="0" anchor="t">
            <a:normAutofit/>
          </a:bodyPr>
          <a:lstStyle/>
          <a:p>
            <a:r>
              <a:rPr lang="en-US">
                <a:cs typeface="Arial"/>
              </a:rPr>
              <a:t>Valued at approximately $142.9 billion in 2022, the market is projected to reach approximately $253.4 billion by 2030, with a compound annual growth rate (CAGR) of 7.48%.</a:t>
            </a:r>
          </a:p>
          <a:p>
            <a:r>
              <a:rPr lang="en-US">
                <a:cs typeface="Arial"/>
              </a:rPr>
              <a:t>The Centers for Medicare &amp; Medicaid Services (CMS) has implemented payment adjustments, including a permanent prospective adjustment of     1.975% to the CY 2025 home health payment rate, impacting provider reimbursements.</a:t>
            </a:r>
          </a:p>
          <a:p>
            <a:r>
              <a:rPr lang="en-US">
                <a:cs typeface="Arial"/>
              </a:rPr>
              <a:t>Private duty personal care and hospice services remain strong growth areas due to their flexibility and alignment with value-based care.</a:t>
            </a:r>
          </a:p>
          <a:p>
            <a:r>
              <a:rPr lang="en-US"/>
              <a:t>Advancements in technology, such as remote monitoring and telehealth services, are further transforming home healthcare by improving efficiency and expanding access to care.</a:t>
            </a:r>
          </a:p>
        </p:txBody>
      </p:sp>
      <p:sp>
        <p:nvSpPr>
          <p:cNvPr id="10" name="Text Placeholder 9">
            <a:extLst>
              <a:ext uri="{FF2B5EF4-FFF2-40B4-BE49-F238E27FC236}">
                <a16:creationId xmlns:a16="http://schemas.microsoft.com/office/drawing/2014/main" id="{3AB0B0EB-13D1-B401-0F96-84C89B5801D3}"/>
              </a:ext>
            </a:extLst>
          </p:cNvPr>
          <p:cNvSpPr>
            <a:spLocks noGrp="1"/>
          </p:cNvSpPr>
          <p:nvPr>
            <p:ph type="body" idx="31"/>
          </p:nvPr>
        </p:nvSpPr>
        <p:spPr/>
        <p:txBody>
          <a:bodyPr/>
          <a:lstStyle/>
          <a:p>
            <a:r>
              <a:rPr lang="en-US">
                <a:cs typeface="Arial"/>
              </a:rPr>
              <a:t>Home Health Care Services Expenditure (in $USD bn)</a:t>
            </a:r>
            <a:endParaRPr lang="en-US" b="0">
              <a:solidFill>
                <a:srgbClr val="000000"/>
              </a:solidFill>
              <a:cs typeface="Arial"/>
            </a:endParaRPr>
          </a:p>
        </p:txBody>
      </p:sp>
      <p:sp>
        <p:nvSpPr>
          <p:cNvPr id="17" name="Rectangle 16">
            <a:extLst>
              <a:ext uri="{FF2B5EF4-FFF2-40B4-BE49-F238E27FC236}">
                <a16:creationId xmlns:a16="http://schemas.microsoft.com/office/drawing/2014/main" id="{CC17751B-EC40-397C-CC7D-DD30131D4CFD}"/>
              </a:ext>
            </a:extLst>
          </p:cNvPr>
          <p:cNvSpPr/>
          <p:nvPr/>
        </p:nvSpPr>
        <p:spPr>
          <a:xfrm>
            <a:off x="250825" y="1384303"/>
            <a:ext cx="4141784" cy="2096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t>Threat of New Entrants: Moderate </a:t>
            </a:r>
            <a:endParaRPr lang="en-US" sz="1200" b="1" i="1"/>
          </a:p>
        </p:txBody>
      </p:sp>
      <p:sp>
        <p:nvSpPr>
          <p:cNvPr id="19" name="Rectangle 18">
            <a:extLst>
              <a:ext uri="{FF2B5EF4-FFF2-40B4-BE49-F238E27FC236}">
                <a16:creationId xmlns:a16="http://schemas.microsoft.com/office/drawing/2014/main" id="{0CBEF162-6D21-5366-0C43-AFA8EABB61CD}"/>
              </a:ext>
            </a:extLst>
          </p:cNvPr>
          <p:cNvSpPr/>
          <p:nvPr/>
        </p:nvSpPr>
        <p:spPr>
          <a:xfrm>
            <a:off x="250825" y="2356515"/>
            <a:ext cx="4141784" cy="2096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latin typeface="+mj-lt"/>
              </a:rPr>
              <a:t>Bargaining Power of Suppliers: Moderate to High   </a:t>
            </a:r>
          </a:p>
        </p:txBody>
      </p:sp>
      <p:sp>
        <p:nvSpPr>
          <p:cNvPr id="21" name="Rectangle 20">
            <a:extLst>
              <a:ext uri="{FF2B5EF4-FFF2-40B4-BE49-F238E27FC236}">
                <a16:creationId xmlns:a16="http://schemas.microsoft.com/office/drawing/2014/main" id="{DC5E5A54-635E-E0E2-D39B-98397CF13AF6}"/>
              </a:ext>
            </a:extLst>
          </p:cNvPr>
          <p:cNvSpPr/>
          <p:nvPr/>
        </p:nvSpPr>
        <p:spPr>
          <a:xfrm>
            <a:off x="250825" y="3314834"/>
            <a:ext cx="4141784" cy="2096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1200" b="1">
                <a:solidFill>
                  <a:schemeClr val="bg1"/>
                </a:solidFill>
                <a:latin typeface="+mj-lt"/>
              </a:rPr>
              <a:t>Bargaining Power of Buyers: High</a:t>
            </a:r>
            <a:endParaRPr lang="en-US" sz="1200" b="1">
              <a:solidFill>
                <a:schemeClr val="bg1"/>
              </a:solidFill>
              <a:latin typeface="+mj-lt"/>
            </a:endParaRPr>
          </a:p>
        </p:txBody>
      </p:sp>
      <p:sp>
        <p:nvSpPr>
          <p:cNvPr id="23" name="Rectangle 22">
            <a:extLst>
              <a:ext uri="{FF2B5EF4-FFF2-40B4-BE49-F238E27FC236}">
                <a16:creationId xmlns:a16="http://schemas.microsoft.com/office/drawing/2014/main" id="{0BB5B39E-5288-FF3B-CEC5-606D75D97BCB}"/>
              </a:ext>
            </a:extLst>
          </p:cNvPr>
          <p:cNvSpPr/>
          <p:nvPr/>
        </p:nvSpPr>
        <p:spPr>
          <a:xfrm>
            <a:off x="250826" y="4239597"/>
            <a:ext cx="4141784" cy="2096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1200" b="1">
                <a:solidFill>
                  <a:schemeClr val="bg1"/>
                </a:solidFill>
                <a:latin typeface="+mj-lt"/>
              </a:rPr>
              <a:t>Threat of Substitutes: Moderate   </a:t>
            </a:r>
            <a:endParaRPr lang="en-US" sz="1200" b="1">
              <a:solidFill>
                <a:schemeClr val="bg1"/>
              </a:solidFill>
              <a:latin typeface="+mj-lt"/>
            </a:endParaRPr>
          </a:p>
        </p:txBody>
      </p:sp>
      <p:sp>
        <p:nvSpPr>
          <p:cNvPr id="25" name="Rectangle 24">
            <a:extLst>
              <a:ext uri="{FF2B5EF4-FFF2-40B4-BE49-F238E27FC236}">
                <a16:creationId xmlns:a16="http://schemas.microsoft.com/office/drawing/2014/main" id="{0DEA961F-0DC2-A017-4CBF-86B3674054BB}"/>
              </a:ext>
            </a:extLst>
          </p:cNvPr>
          <p:cNvSpPr/>
          <p:nvPr/>
        </p:nvSpPr>
        <p:spPr>
          <a:xfrm>
            <a:off x="250825" y="5283728"/>
            <a:ext cx="4141784" cy="2096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CA" sz="1200" b="1">
                <a:solidFill>
                  <a:schemeClr val="bg1"/>
                </a:solidFill>
                <a:latin typeface="+mj-lt"/>
              </a:rPr>
              <a:t>Industry Rivalry: High   </a:t>
            </a:r>
            <a:endParaRPr lang="en-US" sz="1200" b="1">
              <a:solidFill>
                <a:schemeClr val="bg1"/>
              </a:solidFill>
              <a:latin typeface="+mj-lt"/>
            </a:endParaRPr>
          </a:p>
        </p:txBody>
      </p:sp>
      <p:sp>
        <p:nvSpPr>
          <p:cNvPr id="27" name="Content Placeholder 49">
            <a:extLst>
              <a:ext uri="{FF2B5EF4-FFF2-40B4-BE49-F238E27FC236}">
                <a16:creationId xmlns:a16="http://schemas.microsoft.com/office/drawing/2014/main" id="{8776FB21-2706-09BE-07CE-7E52041E79C9}"/>
              </a:ext>
            </a:extLst>
          </p:cNvPr>
          <p:cNvSpPr txBox="1">
            <a:spLocks/>
          </p:cNvSpPr>
          <p:nvPr/>
        </p:nvSpPr>
        <p:spPr>
          <a:xfrm>
            <a:off x="250821" y="2569013"/>
            <a:ext cx="4141788" cy="73142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ea typeface="+mj-lt"/>
                <a:cs typeface="+mj-lt"/>
              </a:rPr>
              <a:t>Skilled caregivers, who are essential suppliers in the industry, wield significant bargaining power because of growing demand and persistent workforce shortages. Their leverage is further amplified by increasing wages and difficulties in staff retention faced by providers.</a:t>
            </a:r>
            <a:endParaRPr lang="en-US">
              <a:latin typeface="+mn-lt"/>
              <a:cs typeface="Arial"/>
            </a:endParaRPr>
          </a:p>
          <a:p>
            <a:pPr>
              <a:lnSpc>
                <a:spcPct val="100000"/>
              </a:lnSpc>
            </a:pPr>
            <a:endParaRPr lang="en-US">
              <a:latin typeface="+mn-lt"/>
              <a:cs typeface="Arial"/>
            </a:endParaRPr>
          </a:p>
        </p:txBody>
      </p:sp>
      <p:sp>
        <p:nvSpPr>
          <p:cNvPr id="29" name="Content Placeholder 49">
            <a:extLst>
              <a:ext uri="{FF2B5EF4-FFF2-40B4-BE49-F238E27FC236}">
                <a16:creationId xmlns:a16="http://schemas.microsoft.com/office/drawing/2014/main" id="{FCBBFEFF-3D6C-8150-2FA8-67AD18BCF7CC}"/>
              </a:ext>
            </a:extLst>
          </p:cNvPr>
          <p:cNvSpPr txBox="1">
            <a:spLocks/>
          </p:cNvSpPr>
          <p:nvPr/>
        </p:nvSpPr>
        <p:spPr>
          <a:xfrm>
            <a:off x="245988" y="3530287"/>
            <a:ext cx="4141788" cy="70931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a:latin typeface="+mn-lt"/>
                <a:cs typeface="Arial"/>
              </a:rPr>
              <a:t>Government payers, like Medicare and Medicaid, have high bargaining power due to strict reimbursement rates and large funding volumes. Private-pay clients wield moderate influence, with fewer alternative care options available.</a:t>
            </a:r>
          </a:p>
          <a:p>
            <a:endParaRPr lang="en-CA">
              <a:latin typeface="+mn-lt"/>
            </a:endParaRPr>
          </a:p>
        </p:txBody>
      </p:sp>
      <p:sp>
        <p:nvSpPr>
          <p:cNvPr id="31" name="Content Placeholder 49">
            <a:extLst>
              <a:ext uri="{FF2B5EF4-FFF2-40B4-BE49-F238E27FC236}">
                <a16:creationId xmlns:a16="http://schemas.microsoft.com/office/drawing/2014/main" id="{F5FB5C90-1FC7-ACAF-A7DA-08379B3AA6F6}"/>
              </a:ext>
            </a:extLst>
          </p:cNvPr>
          <p:cNvSpPr txBox="1">
            <a:spLocks/>
          </p:cNvSpPr>
          <p:nvPr/>
        </p:nvSpPr>
        <p:spPr>
          <a:xfrm>
            <a:off x="246062" y="4449202"/>
            <a:ext cx="4141788" cy="82460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ea typeface="+mj-lt"/>
                <a:cs typeface="+mj-lt"/>
              </a:rPr>
              <a:t>The threat is moderate, with institutional care and family-provided solutions presenting alternatives, though they are typically less appealing or economical. The personalized and cost-effective nature of home healthcare reduces the impact of these substitutes.</a:t>
            </a:r>
            <a:endParaRPr lang="en-US" b="1">
              <a:latin typeface="+mn-lt"/>
            </a:endParaRPr>
          </a:p>
          <a:p>
            <a:endParaRPr lang="en-US" b="1">
              <a:latin typeface="+mn-lt"/>
            </a:endParaRPr>
          </a:p>
        </p:txBody>
      </p:sp>
      <p:sp>
        <p:nvSpPr>
          <p:cNvPr id="33" name="Content Placeholder 49">
            <a:extLst>
              <a:ext uri="{FF2B5EF4-FFF2-40B4-BE49-F238E27FC236}">
                <a16:creationId xmlns:a16="http://schemas.microsoft.com/office/drawing/2014/main" id="{1D23C016-8862-DC11-5A2F-E2990BE9AD7B}"/>
              </a:ext>
            </a:extLst>
          </p:cNvPr>
          <p:cNvSpPr txBox="1">
            <a:spLocks/>
          </p:cNvSpPr>
          <p:nvPr/>
        </p:nvSpPr>
        <p:spPr>
          <a:xfrm>
            <a:off x="250821" y="5507726"/>
            <a:ext cx="4141788" cy="66330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a:latin typeface="+mn-lt"/>
                <a:cs typeface="Arial"/>
              </a:rPr>
              <a:t>Rivalry is high, driven by a fragmented market, aggressive competition among major players, and price pressures in Medicare/Medicaid segments. Companies differentiate through technology adoption, service diversification, and geographic expansion.</a:t>
            </a:r>
          </a:p>
          <a:p>
            <a:endParaRPr lang="en-CA" b="1">
              <a:latin typeface="+mn-lt"/>
            </a:endParaRPr>
          </a:p>
        </p:txBody>
      </p:sp>
      <p:sp>
        <p:nvSpPr>
          <p:cNvPr id="35" name="Content Placeholder 49">
            <a:extLst>
              <a:ext uri="{FF2B5EF4-FFF2-40B4-BE49-F238E27FC236}">
                <a16:creationId xmlns:a16="http://schemas.microsoft.com/office/drawing/2014/main" id="{31BCDE68-8A91-8468-0030-FB6FA9A3B3F1}"/>
              </a:ext>
            </a:extLst>
          </p:cNvPr>
          <p:cNvSpPr txBox="1">
            <a:spLocks/>
          </p:cNvSpPr>
          <p:nvPr/>
        </p:nvSpPr>
        <p:spPr>
          <a:xfrm>
            <a:off x="250821" y="1602932"/>
            <a:ext cx="4141788" cy="66330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1pPr>
            <a:lvl2pPr marL="4492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2pPr>
            <a:lvl3pPr marL="7159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3pPr>
            <a:lvl4pPr marL="982663" indent="-228600" algn="l" defTabSz="914400" rtl="0" eaLnBrk="1" latinLnBrk="0" hangingPunct="1">
              <a:lnSpc>
                <a:spcPct val="90000"/>
              </a:lnSpc>
              <a:spcBef>
                <a:spcPts val="500"/>
              </a:spcBef>
              <a:buClr>
                <a:schemeClr val="accent1"/>
              </a:buClr>
              <a:buFont typeface="Wingdings" panose="05000000000000000000" pitchFamily="2" charset="2"/>
              <a:buChar char="§"/>
              <a:defRPr sz="900" kern="1200">
                <a:solidFill>
                  <a:schemeClr val="tx1"/>
                </a:solidFill>
                <a:latin typeface="+mj-lt"/>
                <a:ea typeface="+mn-ea"/>
                <a:cs typeface="Goldman Sans Regular" panose="020B0603020203020204" pitchFamily="34" charset="0"/>
              </a:defRPr>
            </a:lvl4pPr>
            <a:lvl5pPr marL="1258888" indent="-228600" algn="l" defTabSz="914400" rtl="0" eaLnBrk="1" latinLnBrk="0" hangingPunct="1">
              <a:lnSpc>
                <a:spcPct val="90000"/>
              </a:lnSpc>
              <a:spcBef>
                <a:spcPts val="500"/>
              </a:spcBef>
              <a:buClr>
                <a:schemeClr val="accent1"/>
              </a:buClr>
              <a:buFont typeface="Wingdings" panose="05000000000000000000" pitchFamily="2" charset="2"/>
              <a:buChar char="§"/>
              <a:defRPr sz="900" i="1" kern="1200">
                <a:solidFill>
                  <a:schemeClr val="tx1"/>
                </a:solidFill>
                <a:latin typeface="+mj-lt"/>
                <a:ea typeface="+mn-ea"/>
                <a:cs typeface="Goldman Sans Regular" panose="020B0603020203020204" pitchFamily="34" charset="0"/>
              </a:defRPr>
            </a:lvl5pPr>
            <a:lvl6pPr marL="25146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6pPr>
            <a:lvl7pPr marL="2971800" indent="-228600" algn="l" defTabSz="914400" rtl="0" eaLnBrk="1" latinLnBrk="0" hangingPunct="1">
              <a:lnSpc>
                <a:spcPct val="90000"/>
              </a:lnSpc>
              <a:spcBef>
                <a:spcPts val="500"/>
              </a:spcBef>
              <a:buClr>
                <a:schemeClr val="accent1"/>
              </a:buClr>
              <a:buFont typeface="Wingdings" panose="05000000000000000000" pitchFamily="2" charset="2"/>
              <a:buChar char="§"/>
              <a:defRPr sz="1200" kern="1200">
                <a:solidFill>
                  <a:schemeClr val="tx1"/>
                </a:solidFill>
                <a:latin typeface="Goldman Sans Regular" panose="020B0603020203020204" pitchFamily="34" charset="0"/>
                <a:ea typeface="+mn-ea"/>
                <a:cs typeface="Goldman Sans Regular" panose="020B0603020203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ea typeface="+mj-lt"/>
                <a:cs typeface="+mj-lt"/>
              </a:rPr>
              <a:t>The threat is moderate, as Medicare/Medicaid-funded providers face high regulatory barriers, while private-pay personal care agencies have lower entry requirements. Established players leverage economies of scale and brand recognition to maintain their competitive edge.</a:t>
            </a:r>
            <a:endParaRPr lang="en-US" b="1">
              <a:latin typeface="+mn-lt"/>
            </a:endParaRPr>
          </a:p>
        </p:txBody>
      </p:sp>
      <p:graphicFrame>
        <p:nvGraphicFramePr>
          <p:cNvPr id="13" name="Content Placeholder 12">
            <a:extLst>
              <a:ext uri="{FF2B5EF4-FFF2-40B4-BE49-F238E27FC236}">
                <a16:creationId xmlns:a16="http://schemas.microsoft.com/office/drawing/2014/main" id="{FC85C619-345E-F7ED-8CC0-A56C19AF3316}"/>
              </a:ext>
            </a:extLst>
          </p:cNvPr>
          <p:cNvGraphicFramePr>
            <a:graphicFrameLocks noGrp="1"/>
          </p:cNvGraphicFramePr>
          <p:nvPr>
            <p:ph sz="quarter" idx="30"/>
            <p:extLst>
              <p:ext uri="{D42A27DB-BD31-4B8C-83A1-F6EECF244321}">
                <p14:modId xmlns:p14="http://schemas.microsoft.com/office/powerpoint/2010/main" val="3276271130"/>
              </p:ext>
            </p:extLst>
          </p:nvPr>
        </p:nvGraphicFramePr>
        <p:xfrm>
          <a:off x="4751388" y="4014788"/>
          <a:ext cx="4141787" cy="21780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01735"/>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0C00C-2C93-B89C-95E4-6D19D7F79BA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B22DF244-BC71-36F8-DFF1-9FE93DCC1A37}"/>
              </a:ext>
            </a:extLst>
          </p:cNvPr>
          <p:cNvSpPr>
            <a:spLocks noGrp="1"/>
          </p:cNvSpPr>
          <p:nvPr>
            <p:ph type="body" sz="quarter" idx="13"/>
          </p:nvPr>
        </p:nvSpPr>
        <p:spPr/>
        <p:txBody>
          <a:bodyPr/>
          <a:lstStyle/>
          <a:p>
            <a:r>
              <a:rPr lang="en-US"/>
              <a:t>Sources: Statista, Grand View Research, IBISWorld</a:t>
            </a:r>
          </a:p>
        </p:txBody>
      </p:sp>
      <p:sp>
        <p:nvSpPr>
          <p:cNvPr id="3" name="Text Placeholder 2">
            <a:extLst>
              <a:ext uri="{FF2B5EF4-FFF2-40B4-BE49-F238E27FC236}">
                <a16:creationId xmlns:a16="http://schemas.microsoft.com/office/drawing/2014/main" id="{54D7C287-1275-2942-71E4-5FD36DF8B868}"/>
              </a:ext>
            </a:extLst>
          </p:cNvPr>
          <p:cNvSpPr>
            <a:spLocks noGrp="1"/>
          </p:cNvSpPr>
          <p:nvPr>
            <p:ph type="body" sz="quarter" idx="21"/>
          </p:nvPr>
        </p:nvSpPr>
        <p:spPr/>
        <p:txBody>
          <a:bodyPr/>
          <a:lstStyle/>
          <a:p>
            <a:r>
              <a:rPr lang="en-US"/>
              <a:t>Aging U.S. population provides opportunity for growth.</a:t>
            </a:r>
          </a:p>
        </p:txBody>
      </p:sp>
      <p:sp>
        <p:nvSpPr>
          <p:cNvPr id="4" name="Title 3">
            <a:extLst>
              <a:ext uri="{FF2B5EF4-FFF2-40B4-BE49-F238E27FC236}">
                <a16:creationId xmlns:a16="http://schemas.microsoft.com/office/drawing/2014/main" id="{2A74E8E7-423E-B63B-39E6-28901E107071}"/>
              </a:ext>
            </a:extLst>
          </p:cNvPr>
          <p:cNvSpPr>
            <a:spLocks noGrp="1"/>
          </p:cNvSpPr>
          <p:nvPr>
            <p:ph type="title"/>
          </p:nvPr>
        </p:nvSpPr>
        <p:spPr/>
        <p:txBody>
          <a:bodyPr/>
          <a:lstStyle/>
          <a:p>
            <a:r>
              <a:rPr lang="en-US"/>
              <a:t>Drivers &amp; Trends</a:t>
            </a:r>
          </a:p>
        </p:txBody>
      </p:sp>
      <p:sp>
        <p:nvSpPr>
          <p:cNvPr id="5" name="Text Placeholder 4">
            <a:extLst>
              <a:ext uri="{FF2B5EF4-FFF2-40B4-BE49-F238E27FC236}">
                <a16:creationId xmlns:a16="http://schemas.microsoft.com/office/drawing/2014/main" id="{2D5990F6-A1D8-B583-98A4-1BC448FFBBC1}"/>
              </a:ext>
            </a:extLst>
          </p:cNvPr>
          <p:cNvSpPr>
            <a:spLocks noGrp="1"/>
          </p:cNvSpPr>
          <p:nvPr>
            <p:ph type="body" idx="22"/>
          </p:nvPr>
        </p:nvSpPr>
        <p:spPr/>
        <p:txBody>
          <a:bodyPr/>
          <a:lstStyle/>
          <a:p>
            <a:r>
              <a:rPr lang="en-US"/>
              <a:t>Shift Towards Home-Based Care</a:t>
            </a:r>
          </a:p>
        </p:txBody>
      </p:sp>
      <p:sp>
        <p:nvSpPr>
          <p:cNvPr id="6" name="Content Placeholder 5">
            <a:extLst>
              <a:ext uri="{FF2B5EF4-FFF2-40B4-BE49-F238E27FC236}">
                <a16:creationId xmlns:a16="http://schemas.microsoft.com/office/drawing/2014/main" id="{3E317487-22AB-3554-78CE-28DB61E82F85}"/>
              </a:ext>
            </a:extLst>
          </p:cNvPr>
          <p:cNvSpPr>
            <a:spLocks noGrp="1"/>
          </p:cNvSpPr>
          <p:nvPr>
            <p:ph sz="quarter" idx="23"/>
          </p:nvPr>
        </p:nvSpPr>
        <p:spPr/>
        <p:txBody>
          <a:bodyPr vert="horz" lIns="91440" tIns="45720" rIns="91440" bIns="45720" rtlCol="0" anchor="t">
            <a:normAutofit/>
          </a:bodyPr>
          <a:lstStyle/>
          <a:p>
            <a:r>
              <a:rPr lang="en-US">
                <a:ea typeface="+mj-lt"/>
                <a:cs typeface="+mj-lt"/>
              </a:rPr>
              <a:t>By 2030, over 20% of the U.S. population will be aged 65 or older, up from 16.5% in 2020, creating a surge in demand for home-based healthcare services.</a:t>
            </a:r>
            <a:endParaRPr lang="en-US"/>
          </a:p>
          <a:p>
            <a:r>
              <a:rPr lang="en-US">
                <a:ea typeface="+mj-lt"/>
                <a:cs typeface="+mj-lt"/>
              </a:rPr>
              <a:t>Seniors account for approximately 80% of all home healthcare utilization, driven by the need for chronic disease management and post-hospitalization care.</a:t>
            </a:r>
            <a:endParaRPr lang="en-US"/>
          </a:p>
          <a:p>
            <a:r>
              <a:rPr lang="en-US">
                <a:ea typeface="+mj-lt"/>
                <a:cs typeface="+mj-lt"/>
              </a:rPr>
              <a:t>Over 60% of adults aged 65+ manage two or more chronic conditions, such as diabetes and heart disease, increasing the need for long-term, in-home care solutions.</a:t>
            </a:r>
            <a:endParaRPr lang="en-US"/>
          </a:p>
          <a:p>
            <a:r>
              <a:rPr lang="en-US">
                <a:ea typeface="+mj-lt"/>
                <a:cs typeface="+mj-lt"/>
              </a:rPr>
              <a:t>Home healthcare is a cost-effective alternative to nursing homes, with the median annual cost of home health aide services at $52,624 compared to nursing facility care, which averages over $100,000 annually.</a:t>
            </a:r>
            <a:endParaRPr lang="en-US"/>
          </a:p>
          <a:p>
            <a:endParaRPr lang="en-US"/>
          </a:p>
        </p:txBody>
      </p:sp>
      <p:sp>
        <p:nvSpPr>
          <p:cNvPr id="7" name="Text Placeholder 6">
            <a:extLst>
              <a:ext uri="{FF2B5EF4-FFF2-40B4-BE49-F238E27FC236}">
                <a16:creationId xmlns:a16="http://schemas.microsoft.com/office/drawing/2014/main" id="{EAEBAADD-D3DD-D21E-9A24-B5674F60606F}"/>
              </a:ext>
            </a:extLst>
          </p:cNvPr>
          <p:cNvSpPr>
            <a:spLocks noGrp="1"/>
          </p:cNvSpPr>
          <p:nvPr>
            <p:ph type="body" idx="26"/>
          </p:nvPr>
        </p:nvSpPr>
        <p:spPr/>
        <p:txBody>
          <a:bodyPr/>
          <a:lstStyle/>
          <a:p>
            <a:r>
              <a:rPr lang="en-US"/>
              <a:t>Aging US Population</a:t>
            </a:r>
          </a:p>
        </p:txBody>
      </p:sp>
      <p:sp>
        <p:nvSpPr>
          <p:cNvPr id="8" name="Text Placeholder 7">
            <a:extLst>
              <a:ext uri="{FF2B5EF4-FFF2-40B4-BE49-F238E27FC236}">
                <a16:creationId xmlns:a16="http://schemas.microsoft.com/office/drawing/2014/main" id="{A9FBD496-60E6-5970-5EBD-3A2BAD30B94C}"/>
              </a:ext>
            </a:extLst>
          </p:cNvPr>
          <p:cNvSpPr>
            <a:spLocks noGrp="1"/>
          </p:cNvSpPr>
          <p:nvPr>
            <p:ph type="body" idx="27"/>
          </p:nvPr>
        </p:nvSpPr>
        <p:spPr/>
        <p:txBody>
          <a:bodyPr/>
          <a:lstStyle/>
          <a:p>
            <a:r>
              <a:rPr lang="en-US"/>
              <a:t>Share of Old Age Population - 65+ (U.S.)</a:t>
            </a:r>
          </a:p>
        </p:txBody>
      </p:sp>
      <p:sp>
        <p:nvSpPr>
          <p:cNvPr id="9" name="Content Placeholder 8">
            <a:extLst>
              <a:ext uri="{FF2B5EF4-FFF2-40B4-BE49-F238E27FC236}">
                <a16:creationId xmlns:a16="http://schemas.microsoft.com/office/drawing/2014/main" id="{7D005DD8-0E88-29EB-2102-1186AFCFC73F}"/>
              </a:ext>
            </a:extLst>
          </p:cNvPr>
          <p:cNvSpPr>
            <a:spLocks noGrp="1"/>
          </p:cNvSpPr>
          <p:nvPr>
            <p:ph sz="quarter" idx="28"/>
          </p:nvPr>
        </p:nvSpPr>
        <p:spPr/>
        <p:txBody>
          <a:bodyPr vert="horz" lIns="91440" tIns="45720" rIns="91440" bIns="45720" rtlCol="0" anchor="t">
            <a:normAutofit/>
          </a:bodyPr>
          <a:lstStyle/>
          <a:p>
            <a:r>
              <a:rPr lang="en-US">
                <a:ea typeface="+mj-lt"/>
                <a:cs typeface="+mj-lt"/>
              </a:rPr>
              <a:t>The COVID-19 pandemic prompted regulatory changes, such as the Centers for Medicare &amp; Medicaid Services' Acute Hospital Care at Home program, expanding the scope and reimbursement for home-based care services.</a:t>
            </a:r>
          </a:p>
          <a:p>
            <a:r>
              <a:rPr lang="en-US">
                <a:ea typeface="+mj-lt"/>
                <a:cs typeface="+mj-lt"/>
              </a:rPr>
              <a:t>Many innovations in telehealth, remote patient monitoring, and wearable health devices have made it more feasible and cost-effective to deliver quality care in patients' homes.</a:t>
            </a:r>
          </a:p>
          <a:p>
            <a:r>
              <a:rPr lang="en-US">
                <a:ea typeface="+mj-lt"/>
                <a:cs typeface="+mj-lt"/>
              </a:rPr>
              <a:t>Many patients prefer receiving care in the comfort of their homes, which can lead to better engagement and adherence to treatment plans, ultimately improving health outcomes.</a:t>
            </a:r>
            <a:endParaRPr lang="en-US">
              <a:cs typeface="Arial"/>
            </a:endParaRPr>
          </a:p>
        </p:txBody>
      </p:sp>
      <p:sp>
        <p:nvSpPr>
          <p:cNvPr id="12" name="Text Placeholder 11">
            <a:extLst>
              <a:ext uri="{FF2B5EF4-FFF2-40B4-BE49-F238E27FC236}">
                <a16:creationId xmlns:a16="http://schemas.microsoft.com/office/drawing/2014/main" id="{6B6ABE7A-1298-15B8-D192-CDDB6711C48F}"/>
              </a:ext>
            </a:extLst>
          </p:cNvPr>
          <p:cNvSpPr>
            <a:spLocks noGrp="1"/>
          </p:cNvSpPr>
          <p:nvPr>
            <p:ph type="body" idx="31"/>
          </p:nvPr>
        </p:nvSpPr>
        <p:spPr/>
        <p:txBody>
          <a:bodyPr>
            <a:normAutofit/>
          </a:bodyPr>
          <a:lstStyle/>
          <a:p>
            <a:r>
              <a:rPr lang="en-US">
                <a:cs typeface="Arial"/>
              </a:rPr>
              <a:t>Government Medicaid Healthcare Spending (U.S.)</a:t>
            </a:r>
            <a:endParaRPr lang="en-US" b="0">
              <a:solidFill>
                <a:srgbClr val="000000"/>
              </a:solidFill>
              <a:cs typeface="Arial"/>
            </a:endParaRPr>
          </a:p>
        </p:txBody>
      </p:sp>
      <p:graphicFrame>
        <p:nvGraphicFramePr>
          <p:cNvPr id="17" name="Content Placeholder 16">
            <a:extLst>
              <a:ext uri="{FF2B5EF4-FFF2-40B4-BE49-F238E27FC236}">
                <a16:creationId xmlns:a16="http://schemas.microsoft.com/office/drawing/2014/main" id="{ABF0FF7F-0F40-3AC5-CCE2-46592D2391B5}"/>
              </a:ext>
            </a:extLst>
          </p:cNvPr>
          <p:cNvGraphicFramePr>
            <a:graphicFrameLocks noGrp="1"/>
          </p:cNvGraphicFramePr>
          <p:nvPr>
            <p:ph sz="quarter" idx="29"/>
            <p:extLst>
              <p:ext uri="{D42A27DB-BD31-4B8C-83A1-F6EECF244321}">
                <p14:modId xmlns:p14="http://schemas.microsoft.com/office/powerpoint/2010/main" val="2362512913"/>
              </p:ext>
            </p:extLst>
          </p:nvPr>
        </p:nvGraphicFramePr>
        <p:xfrm>
          <a:off x="250825" y="3753038"/>
          <a:ext cx="4141788" cy="24397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Content Placeholder 21">
            <a:extLst>
              <a:ext uri="{FF2B5EF4-FFF2-40B4-BE49-F238E27FC236}">
                <a16:creationId xmlns:a16="http://schemas.microsoft.com/office/drawing/2014/main" id="{02C1F3EE-3449-131E-11B0-2560F09D076C}"/>
              </a:ext>
            </a:extLst>
          </p:cNvPr>
          <p:cNvGraphicFramePr>
            <a:graphicFrameLocks noGrp="1"/>
          </p:cNvGraphicFramePr>
          <p:nvPr>
            <p:ph sz="quarter" idx="30"/>
            <p:extLst>
              <p:ext uri="{D42A27DB-BD31-4B8C-83A1-F6EECF244321}">
                <p14:modId xmlns:p14="http://schemas.microsoft.com/office/powerpoint/2010/main" val="4068350122"/>
              </p:ext>
            </p:extLst>
          </p:nvPr>
        </p:nvGraphicFramePr>
        <p:xfrm>
          <a:off x="4751388" y="3862426"/>
          <a:ext cx="4141787" cy="244629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69890928"/>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EE4P_STYLE_ID" val="a2b292bd-f88b-41dd-a361-e58abce3f06d"/>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Calibri&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quot; customLayoutIndex=&quot;3&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hideSeparatingSlides=&quot;0&quot; createSections=&quot;0&quot; singleSlideId=&quot;1cd913cb-a2a2-467d-a71b-aab388b5dc87&quot; backupSlideId=&quot;8ff4a81a-da3e-4578-9bb3-4e01671b9953&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1.8497&quot; /&gt;&lt;column field=&quot;responsible&quot; label=&quot;Responsible&quot; visible=&quot;1&quot; checked=&quot;1&quot; leftSpacing=&quot;10&quot; rightDistribute=&quot;1&quot; dock=&quot;1&quot; rightSpacing=&quot;51.8497&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bfa06727-855d-449b-81e9-fed7d030b982&quot; parentId=&quot;&quot; level=&quot;1&quot; generateAgendaSlide=&quot;1&quot; showAgendaItem=&quot;1&quot; isBreak=&quot;0&quot; topic=&quot;Executive Summary&quot; agendaSlideId=&quot;072b1f53-2534-4d49-96f8-f88f1e4f41e5&quot; /&gt;&lt;item duration=&quot;30&quot; id=&quot;071f5b9c-dea0-4607-9122-84a4d86b33e4&quot; parentId=&quot;&quot; level=&quot;1&quot; generateAgendaSlide=&quot;1&quot; showAgendaItem=&quot;1&quot; isBreak=&quot;0&quot; topic=&quot;TFS Investment Group Overview&quot; agendaSlideId=&quot;bb86328d-c677-40e3-8a9d-d0deab97b825&quot; /&gt;&lt;item duration=&quot;30&quot; id=&quot;a151a993-562e-46b9-8635-eae5be0a501c&quot; parentId=&quot;&quot; level=&quot;1&quot; generateAgendaSlide=&quot;1&quot; showAgendaItem=&quot;1&quot; isBreak=&quot;0&quot; topic=&quot;Creating Recurring Revenue Streams&quot; agendaSlideId=&quot;e73efe9a-6de2-4b1a-9e73-31393ae3b283&quot; /&gt;&lt;item duration=&quot;30&quot; id=&quot;b80e7a37-faad-48f6-bd61-323fd6038f9c&quot; parentId=&quot;&quot; level=&quot;1&quot; generateAgendaSlide=&quot;1&quot; showAgendaItem=&quot;1&quot; isBreak=&quot;0&quot; topic=&quot;Promoting Career Development at Telfer&quot; agendaSlideId=&quot;2d987822-1ed9-4a95-b640-a3f0aade5265&quot; /&gt;&lt;item duration=&quot;30&quot; id=&quot;f31f5914-dc68-45c2-918a-c4207b2be562&quot; parentId=&quot;&quot; level=&quot;1&quot; generateAgendaSlide=&quot;1&quot; showAgendaItem=&quot;1&quot; isBreak=&quot;0&quot; topic=&quot;Proven Comitmment and Success&quot; agendaSlideId=&quot;69f49ccd-f9f1-4232-bb44-5f8557c0b150&quot; /&gt;&lt;item duration=&quot;30&quot; id=&quot;9a556651-20ca-4df2-9334-d99830bbebc1&quot; parentId=&quot;&quot; level=&quot;1&quot; generateAgendaSlide=&quot;1&quot; showAgendaItem=&quot;1&quot; isBreak=&quot;0&quot; topic=&quot;Conclusion&quot; agendaSlideId=&quot;8c6d1885-37e4-4e36-9908-7953be4e3fb1&quot; /&gt;&lt;/items&gt;&lt;/agenda&gt;&lt;/contents&gt;&lt;/ee4p&gt;"/>
  <p:tag name="EE4P_AGENDAWIZARD_UPDATEPAGENUMBERS" val="1"/>
  <p:tag name="DH_FLYSHEET_STYLE" val="1"/>
  <p:tag name="MM_STAMP_CONVERTED" val="True"/>
  <p:tag name="MM_SECTION_CONVERTED" val="True"/>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PRESCENTERCHARTINGCHARTSBYID" val="3"/>
  <p:tag name="PRESCENTERCHARTINGCHARTS" val="Content Placeholder 2"/>
</p:tagLst>
</file>

<file path=ppt/theme/theme1.xml><?xml version="1.0" encoding="utf-8"?>
<a:theme xmlns:a="http://schemas.openxmlformats.org/drawingml/2006/main" name="1_office theme">
  <a:themeElements>
    <a:clrScheme name="TFSIG">
      <a:dk1>
        <a:srgbClr val="000000"/>
      </a:dk1>
      <a:lt1>
        <a:srgbClr val="FFFFFF"/>
      </a:lt1>
      <a:dk2>
        <a:srgbClr val="0F3557"/>
      </a:dk2>
      <a:lt2>
        <a:srgbClr val="DDDDDD"/>
      </a:lt2>
      <a:accent1>
        <a:srgbClr val="0F3557"/>
      </a:accent1>
      <a:accent2>
        <a:srgbClr val="2E89DB"/>
      </a:accent2>
      <a:accent3>
        <a:srgbClr val="74B1E7"/>
      </a:accent3>
      <a:accent4>
        <a:srgbClr val="DDD9C3"/>
      </a:accent4>
      <a:accent5>
        <a:srgbClr val="081A2C"/>
      </a:accent5>
      <a:accent6>
        <a:srgbClr val="DDDDDD"/>
      </a:accent6>
      <a:hlink>
        <a:srgbClr val="2E89DA"/>
      </a:hlink>
      <a:folHlink>
        <a:srgbClr val="954EC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TFSIG">
      <a:dk1>
        <a:srgbClr val="000000"/>
      </a:dk1>
      <a:lt1>
        <a:srgbClr val="FFFFFF"/>
      </a:lt1>
      <a:dk2>
        <a:srgbClr val="0F3557"/>
      </a:dk2>
      <a:lt2>
        <a:srgbClr val="DDDDDD"/>
      </a:lt2>
      <a:accent1>
        <a:srgbClr val="0F3557"/>
      </a:accent1>
      <a:accent2>
        <a:srgbClr val="2E89DB"/>
      </a:accent2>
      <a:accent3>
        <a:srgbClr val="74B1E7"/>
      </a:accent3>
      <a:accent4>
        <a:srgbClr val="DDD9C3"/>
      </a:accent4>
      <a:accent5>
        <a:srgbClr val="081A2C"/>
      </a:accent5>
      <a:accent6>
        <a:srgbClr val="DDDDDD"/>
      </a:accent6>
      <a:hlink>
        <a:srgbClr val="2E89DA"/>
      </a:hlink>
      <a:folHlink>
        <a:srgbClr val="954EC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TFSIG">
      <a:dk1>
        <a:srgbClr val="000000"/>
      </a:dk1>
      <a:lt1>
        <a:srgbClr val="FFFFFF"/>
      </a:lt1>
      <a:dk2>
        <a:srgbClr val="0F3557"/>
      </a:dk2>
      <a:lt2>
        <a:srgbClr val="DDDDDD"/>
      </a:lt2>
      <a:accent1>
        <a:srgbClr val="0F3557"/>
      </a:accent1>
      <a:accent2>
        <a:srgbClr val="2E89DB"/>
      </a:accent2>
      <a:accent3>
        <a:srgbClr val="74B1E7"/>
      </a:accent3>
      <a:accent4>
        <a:srgbClr val="DDD9C3"/>
      </a:accent4>
      <a:accent5>
        <a:srgbClr val="081A2C"/>
      </a:accent5>
      <a:accent6>
        <a:srgbClr val="DDDDDD"/>
      </a:accent6>
      <a:hlink>
        <a:srgbClr val="2E89DA"/>
      </a:hlink>
      <a:folHlink>
        <a:srgbClr val="954EC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TFSIG">
      <a:dk1>
        <a:srgbClr val="000000"/>
      </a:dk1>
      <a:lt1>
        <a:srgbClr val="FFFFFF"/>
      </a:lt1>
      <a:dk2>
        <a:srgbClr val="0F3557"/>
      </a:dk2>
      <a:lt2>
        <a:srgbClr val="DDDDDD"/>
      </a:lt2>
      <a:accent1>
        <a:srgbClr val="0F3557"/>
      </a:accent1>
      <a:accent2>
        <a:srgbClr val="2E89DB"/>
      </a:accent2>
      <a:accent3>
        <a:srgbClr val="74B1E7"/>
      </a:accent3>
      <a:accent4>
        <a:srgbClr val="DDD9C3"/>
      </a:accent4>
      <a:accent5>
        <a:srgbClr val="081A2C"/>
      </a:accent5>
      <a:accent6>
        <a:srgbClr val="DDDDDD"/>
      </a:accent6>
      <a:hlink>
        <a:srgbClr val="2E89DA"/>
      </a:hlink>
      <a:folHlink>
        <a:srgbClr val="954EC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TFSIG">
      <a:dk1>
        <a:srgbClr val="000000"/>
      </a:dk1>
      <a:lt1>
        <a:srgbClr val="FFFFFF"/>
      </a:lt1>
      <a:dk2>
        <a:srgbClr val="0F3557"/>
      </a:dk2>
      <a:lt2>
        <a:srgbClr val="DDDDDD"/>
      </a:lt2>
      <a:accent1>
        <a:srgbClr val="0F3557"/>
      </a:accent1>
      <a:accent2>
        <a:srgbClr val="2E89DB"/>
      </a:accent2>
      <a:accent3>
        <a:srgbClr val="74B1E7"/>
      </a:accent3>
      <a:accent4>
        <a:srgbClr val="DDD9C3"/>
      </a:accent4>
      <a:accent5>
        <a:srgbClr val="081A2C"/>
      </a:accent5>
      <a:accent6>
        <a:srgbClr val="DDDDDD"/>
      </a:accent6>
      <a:hlink>
        <a:srgbClr val="2E89DA"/>
      </a:hlink>
      <a:folHlink>
        <a:srgbClr val="954EC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ACFC9ADE09C944F84622B237F87DF4A" ma:contentTypeVersion="21" ma:contentTypeDescription="Create a new document." ma:contentTypeScope="" ma:versionID="8d2670d17de97ec6d3070c0484a002e8">
  <xsd:schema xmlns:xsd="http://www.w3.org/2001/XMLSchema" xmlns:xs="http://www.w3.org/2001/XMLSchema" xmlns:p="http://schemas.microsoft.com/office/2006/metadata/properties" xmlns:ns2="c39ba54e-b9a3-472f-97db-793996792a5d" xmlns:ns3="8bf10d9e-fd70-4a8e-b55f-cacebec34d2e" targetNamespace="http://schemas.microsoft.com/office/2006/metadata/properties" ma:root="true" ma:fieldsID="f80de8a10bd4be04ed3a1f3083aa8c31" ns2:_="" ns3:_="">
    <xsd:import namespace="c39ba54e-b9a3-472f-97db-793996792a5d"/>
    <xsd:import namespace="8bf10d9e-fd70-4a8e-b55f-cacebec34d2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3:SharedWithUsers" minOccurs="0"/>
                <xsd:element ref="ns3:SharedWithDetails" minOccurs="0"/>
                <xsd:element ref="ns2:MediaServiceAutoKeyPoints" minOccurs="0"/>
                <xsd:element ref="ns2:MediaServiceKeyPoints" minOccurs="0"/>
                <xsd:element ref="ns3:TaxCatchAll" minOccurs="0"/>
                <xsd:element ref="ns2:lcf76f155ced4ddcb4097134ff3c332f"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9ba54e-b9a3-472f-97db-793996792a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Length (seconds)" ma:internalName="MediaLengthInSeconds" ma:readOnly="true">
      <xsd:simpleType>
        <xsd:restriction base="dms:Unknow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c489762-de54-417b-aa3d-8bc484f7f14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bf10d9e-fd70-4a8e-b55f-cacebec34d2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1e4305bd-66e6-421e-8214-70507df77962}" ma:internalName="TaxCatchAll" ma:showField="CatchAllData" ma:web="8bf10d9e-fd70-4a8e-b55f-cacebec34d2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39ba54e-b9a3-472f-97db-793996792a5d">
      <Terms xmlns="http://schemas.microsoft.com/office/infopath/2007/PartnerControls"/>
    </lcf76f155ced4ddcb4097134ff3c332f>
    <TaxCatchAll xmlns="8bf10d9e-fd70-4a8e-b55f-cacebec34d2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736B50-B058-4EEB-B477-3AC5AF08F1B9}">
  <ds:schemaRefs>
    <ds:schemaRef ds:uri="8bf10d9e-fd70-4a8e-b55f-cacebec34d2e"/>
    <ds:schemaRef ds:uri="c39ba54e-b9a3-472f-97db-793996792a5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7BE7B98-0BB1-4828-9DFF-944178163F34}">
  <ds:schemaRefs>
    <ds:schemaRef ds:uri="8bf10d9e-fd70-4a8e-b55f-cacebec34d2e"/>
    <ds:schemaRef ds:uri="c39ba54e-b9a3-472f-97db-793996792a5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30F41EB-6E74-4DBA-8A56-CFF2468D453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On-screen Show (4:3)</PresentationFormat>
  <Slides>30</Slides>
  <Notes>8</Notes>
  <HiddenSlides>0</HiddenSlides>
  <ScaleCrop>false</ScaleCrop>
  <HeadingPairs>
    <vt:vector size="4" baseType="variant">
      <vt:variant>
        <vt:lpstr>Theme</vt:lpstr>
      </vt:variant>
      <vt:variant>
        <vt:i4>5</vt:i4>
      </vt:variant>
      <vt:variant>
        <vt:lpstr>Slide Titles</vt:lpstr>
      </vt:variant>
      <vt:variant>
        <vt:i4>30</vt:i4>
      </vt:variant>
    </vt:vector>
  </HeadingPairs>
  <TitlesOfParts>
    <vt:vector size="35" baseType="lpstr">
      <vt:lpstr>1_office theme</vt:lpstr>
      <vt:lpstr>1_office theme</vt:lpstr>
      <vt:lpstr>1_office theme</vt:lpstr>
      <vt:lpstr>1_office theme</vt:lpstr>
      <vt:lpstr>1_office theme</vt:lpstr>
      <vt:lpstr>Addus Homecare Corporation (NASDAQ: ADUS)</vt:lpstr>
      <vt:lpstr>Executive Summary</vt:lpstr>
      <vt:lpstr>Table of Contents</vt:lpstr>
      <vt:lpstr>A. Company Overview</vt:lpstr>
      <vt:lpstr>Company Highlights</vt:lpstr>
      <vt:lpstr>Product Lines &amp; Revenue Breakdown</vt:lpstr>
      <vt:lpstr>B. Industry Overview</vt:lpstr>
      <vt:lpstr>Industry Overview</vt:lpstr>
      <vt:lpstr>Drivers &amp; Trends</vt:lpstr>
      <vt:lpstr>Assessing Competitive Landscape</vt:lpstr>
      <vt:lpstr>C. Risks &amp; Catalysts</vt:lpstr>
      <vt:lpstr>Risks and Potential Mitigants</vt:lpstr>
      <vt:lpstr>Catalysts</vt:lpstr>
      <vt:lpstr>D. Investment Theses</vt:lpstr>
      <vt:lpstr>Investment Thesis I</vt:lpstr>
      <vt:lpstr>Investment Thesis II</vt:lpstr>
      <vt:lpstr>D. Valuation</vt:lpstr>
      <vt:lpstr>Drivers and Assumptions to Valuation</vt:lpstr>
      <vt:lpstr>Relative Valuation Summary</vt:lpstr>
      <vt:lpstr>Recommendation Summary</vt:lpstr>
      <vt:lpstr>Appendix I</vt:lpstr>
      <vt:lpstr>Discounted Cash Flow Analysis</vt:lpstr>
      <vt:lpstr>Discounted Cash Flow Valuation</vt:lpstr>
      <vt:lpstr>Discounted Cash Flow Analysis Insights</vt:lpstr>
      <vt:lpstr>Discounted Cash Flow Output</vt:lpstr>
      <vt:lpstr>Weighted Average Cost of Capital</vt:lpstr>
      <vt:lpstr>Appendix II</vt:lpstr>
      <vt:lpstr>TMTH Coverage Group</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cas Raponi</dc:creator>
  <cp:revision>1</cp:revision>
  <dcterms:created xsi:type="dcterms:W3CDTF">2021-06-09T21:16:59Z</dcterms:created>
  <dcterms:modified xsi:type="dcterms:W3CDTF">2024-12-02T23:3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CFC9ADE09C944F84622B237F87DF4A</vt:lpwstr>
  </property>
  <property fmtid="{D5CDD505-2E9C-101B-9397-08002B2CF9AE}" pid="3" name="MediaServiceImageTags">
    <vt:lpwstr/>
  </property>
</Properties>
</file>